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4"/>
  </p:sldMasterIdLst>
  <p:notesMasterIdLst>
    <p:notesMasterId r:id="rId14"/>
  </p:notesMasterIdLst>
  <p:handoutMasterIdLst>
    <p:handoutMasterId r:id="rId15"/>
  </p:handoutMasterIdLst>
  <p:sldIdLst>
    <p:sldId id="256" r:id="rId5"/>
    <p:sldId id="348" r:id="rId6"/>
    <p:sldId id="330" r:id="rId7"/>
    <p:sldId id="1100" r:id="rId8"/>
    <p:sldId id="1099" r:id="rId9"/>
    <p:sldId id="323" r:id="rId10"/>
    <p:sldId id="1102" r:id="rId11"/>
    <p:sldId id="1101" r:id="rId12"/>
    <p:sldId id="1103" r:id="rId13"/>
  </p:sldIdLst>
  <p:sldSz cx="12190413" cy="6858000"/>
  <p:notesSz cx="6888163" cy="100203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0F4B"/>
    <a:srgbClr val="74C713"/>
    <a:srgbClr val="00A5E2"/>
    <a:srgbClr val="E61A5D"/>
    <a:srgbClr val="FF3162"/>
    <a:srgbClr val="624963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AD0EA1-6ABF-403F-9BAE-FA95A46685F5}" v="55" dt="2024-10-18T13:35:37.9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455" autoAdjust="0"/>
  </p:normalViewPr>
  <p:slideViewPr>
    <p:cSldViewPr snapToGrid="0" snapToObjects="1" showGuides="1">
      <p:cViewPr varScale="1">
        <p:scale>
          <a:sx n="61" d="100"/>
          <a:sy n="61" d="100"/>
        </p:scale>
        <p:origin x="52" y="100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mantha Thomas" userId="0524907a-f487-41f7-ae7e-dc514cfe3326" providerId="ADAL" clId="{65AD0EA1-6ABF-403F-9BAE-FA95A46685F5}"/>
    <pc:docChg chg="undo custSel addSld modSld">
      <pc:chgData name="Samantha Thomas" userId="0524907a-f487-41f7-ae7e-dc514cfe3326" providerId="ADAL" clId="{65AD0EA1-6ABF-403F-9BAE-FA95A46685F5}" dt="2024-10-18T13:49:41.183" v="2508" actId="20577"/>
      <pc:docMkLst>
        <pc:docMk/>
      </pc:docMkLst>
      <pc:sldChg chg="addSp delSp modSp mod">
        <pc:chgData name="Samantha Thomas" userId="0524907a-f487-41f7-ae7e-dc514cfe3326" providerId="ADAL" clId="{65AD0EA1-6ABF-403F-9BAE-FA95A46685F5}" dt="2024-10-18T13:36:35.415" v="974" actId="404"/>
        <pc:sldMkLst>
          <pc:docMk/>
          <pc:sldMk cId="2191112103" sldId="323"/>
        </pc:sldMkLst>
        <pc:spChg chg="mod">
          <ac:chgData name="Samantha Thomas" userId="0524907a-f487-41f7-ae7e-dc514cfe3326" providerId="ADAL" clId="{65AD0EA1-6ABF-403F-9BAE-FA95A46685F5}" dt="2024-10-18T13:33:33.371" v="857" actId="207"/>
          <ac:spMkLst>
            <pc:docMk/>
            <pc:sldMk cId="2191112103" sldId="323"/>
            <ac:spMk id="2" creationId="{EE914710-AC01-4DC3-9EB7-B7D2F3D2D85A}"/>
          </ac:spMkLst>
        </pc:spChg>
        <pc:spChg chg="mod">
          <ac:chgData name="Samantha Thomas" userId="0524907a-f487-41f7-ae7e-dc514cfe3326" providerId="ADAL" clId="{65AD0EA1-6ABF-403F-9BAE-FA95A46685F5}" dt="2024-10-18T13:32:28.929" v="851" actId="207"/>
          <ac:spMkLst>
            <pc:docMk/>
            <pc:sldMk cId="2191112103" sldId="323"/>
            <ac:spMk id="6" creationId="{39C26044-7562-DE3F-1B5F-205D6F89BBDC}"/>
          </ac:spMkLst>
        </pc:spChg>
        <pc:spChg chg="mod">
          <ac:chgData name="Samantha Thomas" userId="0524907a-f487-41f7-ae7e-dc514cfe3326" providerId="ADAL" clId="{65AD0EA1-6ABF-403F-9BAE-FA95A46685F5}" dt="2024-10-18T13:31:53.570" v="849" actId="207"/>
          <ac:spMkLst>
            <pc:docMk/>
            <pc:sldMk cId="2191112103" sldId="323"/>
            <ac:spMk id="7" creationId="{A2FC6531-A523-7F4E-9B85-0C25FE47A3C2}"/>
          </ac:spMkLst>
        </pc:spChg>
        <pc:spChg chg="del mod">
          <ac:chgData name="Samantha Thomas" userId="0524907a-f487-41f7-ae7e-dc514cfe3326" providerId="ADAL" clId="{65AD0EA1-6ABF-403F-9BAE-FA95A46685F5}" dt="2024-10-18T13:35:32.871" v="920" actId="478"/>
          <ac:spMkLst>
            <pc:docMk/>
            <pc:sldMk cId="2191112103" sldId="323"/>
            <ac:spMk id="8" creationId="{D9D64B43-0C76-2776-57FC-D21462EA193F}"/>
          </ac:spMkLst>
        </pc:spChg>
        <pc:spChg chg="add mod">
          <ac:chgData name="Samantha Thomas" userId="0524907a-f487-41f7-ae7e-dc514cfe3326" providerId="ADAL" clId="{65AD0EA1-6ABF-403F-9BAE-FA95A46685F5}" dt="2024-10-18T13:36:35.415" v="974" actId="404"/>
          <ac:spMkLst>
            <pc:docMk/>
            <pc:sldMk cId="2191112103" sldId="323"/>
            <ac:spMk id="9" creationId="{B31DEAC5-9388-9ABB-A2FF-57FA651AD6E9}"/>
          </ac:spMkLst>
        </pc:spChg>
        <pc:spChg chg="mod">
          <ac:chgData name="Samantha Thomas" userId="0524907a-f487-41f7-ae7e-dc514cfe3326" providerId="ADAL" clId="{65AD0EA1-6ABF-403F-9BAE-FA95A46685F5}" dt="2024-10-18T13:34:52.264" v="881" actId="207"/>
          <ac:spMkLst>
            <pc:docMk/>
            <pc:sldMk cId="2191112103" sldId="323"/>
            <ac:spMk id="12" creationId="{744E5717-52A7-4B90-A52F-58A9238BF0A8}"/>
          </ac:spMkLst>
        </pc:spChg>
        <pc:spChg chg="mod">
          <ac:chgData name="Samantha Thomas" userId="0524907a-f487-41f7-ae7e-dc514cfe3326" providerId="ADAL" clId="{65AD0EA1-6ABF-403F-9BAE-FA95A46685F5}" dt="2024-10-18T13:35:37.951" v="921" actId="6549"/>
          <ac:spMkLst>
            <pc:docMk/>
            <pc:sldMk cId="2191112103" sldId="323"/>
            <ac:spMk id="16" creationId="{28AF336E-39FA-4D3C-8331-4C0C4B48A8F2}"/>
          </ac:spMkLst>
        </pc:spChg>
        <pc:spChg chg="mod">
          <ac:chgData name="Samantha Thomas" userId="0524907a-f487-41f7-ae7e-dc514cfe3326" providerId="ADAL" clId="{65AD0EA1-6ABF-403F-9BAE-FA95A46685F5}" dt="2024-10-18T13:33:22.377" v="855" actId="207"/>
          <ac:spMkLst>
            <pc:docMk/>
            <pc:sldMk cId="2191112103" sldId="323"/>
            <ac:spMk id="19" creationId="{D5E5F54E-82A2-46EF-A9DB-98F482094A91}"/>
          </ac:spMkLst>
        </pc:spChg>
        <pc:spChg chg="mod">
          <ac:chgData name="Samantha Thomas" userId="0524907a-f487-41f7-ae7e-dc514cfe3326" providerId="ADAL" clId="{65AD0EA1-6ABF-403F-9BAE-FA95A46685F5}" dt="2024-10-18T13:33:27.916" v="856" actId="207"/>
          <ac:spMkLst>
            <pc:docMk/>
            <pc:sldMk cId="2191112103" sldId="323"/>
            <ac:spMk id="20" creationId="{F1E79707-3D2E-41FB-A96C-BCBBA086D6AD}"/>
          </ac:spMkLst>
        </pc:spChg>
        <pc:spChg chg="mod">
          <ac:chgData name="Samantha Thomas" userId="0524907a-f487-41f7-ae7e-dc514cfe3326" providerId="ADAL" clId="{65AD0EA1-6ABF-403F-9BAE-FA95A46685F5}" dt="2024-10-18T13:34:45.376" v="880" actId="207"/>
          <ac:spMkLst>
            <pc:docMk/>
            <pc:sldMk cId="2191112103" sldId="323"/>
            <ac:spMk id="29" creationId="{702A18DA-2F1B-420F-B0A9-6F4ECEDDF8D1}"/>
          </ac:spMkLst>
        </pc:spChg>
        <pc:cxnChg chg="mod">
          <ac:chgData name="Samantha Thomas" userId="0524907a-f487-41f7-ae7e-dc514cfe3326" providerId="ADAL" clId="{65AD0EA1-6ABF-403F-9BAE-FA95A46685F5}" dt="2024-10-18T13:35:01.633" v="882" actId="692"/>
          <ac:cxnSpMkLst>
            <pc:docMk/>
            <pc:sldMk cId="2191112103" sldId="323"/>
            <ac:cxnSpMk id="14" creationId="{B616DA19-BF7B-4B19-A70E-55523A59049F}"/>
          </ac:cxnSpMkLst>
        </pc:cxnChg>
        <pc:cxnChg chg="mod">
          <ac:chgData name="Samantha Thomas" userId="0524907a-f487-41f7-ae7e-dc514cfe3326" providerId="ADAL" clId="{65AD0EA1-6ABF-403F-9BAE-FA95A46685F5}" dt="2024-10-18T13:34:36.885" v="879" actId="692"/>
          <ac:cxnSpMkLst>
            <pc:docMk/>
            <pc:sldMk cId="2191112103" sldId="323"/>
            <ac:cxnSpMk id="30" creationId="{90C6BF72-DA89-4445-B194-F065E276FDA9}"/>
          </ac:cxnSpMkLst>
        </pc:cxnChg>
      </pc:sldChg>
      <pc:sldChg chg="modSp mod">
        <pc:chgData name="Samantha Thomas" userId="0524907a-f487-41f7-ae7e-dc514cfe3326" providerId="ADAL" clId="{65AD0EA1-6ABF-403F-9BAE-FA95A46685F5}" dt="2024-10-18T13:28:57.135" v="796" actId="20577"/>
        <pc:sldMkLst>
          <pc:docMk/>
          <pc:sldMk cId="3073784043" sldId="330"/>
        </pc:sldMkLst>
        <pc:spChg chg="mod">
          <ac:chgData name="Samantha Thomas" userId="0524907a-f487-41f7-ae7e-dc514cfe3326" providerId="ADAL" clId="{65AD0EA1-6ABF-403F-9BAE-FA95A46685F5}" dt="2024-10-18T13:28:57.135" v="796" actId="20577"/>
          <ac:spMkLst>
            <pc:docMk/>
            <pc:sldMk cId="3073784043" sldId="330"/>
            <ac:spMk id="4" creationId="{D80EBED6-435C-412B-9FF5-9E6623C81415}"/>
          </ac:spMkLst>
        </pc:spChg>
      </pc:sldChg>
      <pc:sldChg chg="modSp">
        <pc:chgData name="Samantha Thomas" userId="0524907a-f487-41f7-ae7e-dc514cfe3326" providerId="ADAL" clId="{65AD0EA1-6ABF-403F-9BAE-FA95A46685F5}" dt="2024-10-18T13:29:58.567" v="847" actId="404"/>
        <pc:sldMkLst>
          <pc:docMk/>
          <pc:sldMk cId="1234096179" sldId="1100"/>
        </pc:sldMkLst>
        <pc:spChg chg="mod">
          <ac:chgData name="Samantha Thomas" userId="0524907a-f487-41f7-ae7e-dc514cfe3326" providerId="ADAL" clId="{65AD0EA1-6ABF-403F-9BAE-FA95A46685F5}" dt="2024-10-18T13:29:58.567" v="847" actId="404"/>
          <ac:spMkLst>
            <pc:docMk/>
            <pc:sldMk cId="1234096179" sldId="1100"/>
            <ac:spMk id="13" creationId="{072AAD5C-B14D-4474-BC9D-119E34B3F602}"/>
          </ac:spMkLst>
        </pc:spChg>
      </pc:sldChg>
      <pc:sldChg chg="modSp mod">
        <pc:chgData name="Samantha Thomas" userId="0524907a-f487-41f7-ae7e-dc514cfe3326" providerId="ADAL" clId="{65AD0EA1-6ABF-403F-9BAE-FA95A46685F5}" dt="2024-10-18T13:39:56.592" v="1153" actId="403"/>
        <pc:sldMkLst>
          <pc:docMk/>
          <pc:sldMk cId="1516787782" sldId="1101"/>
        </pc:sldMkLst>
        <pc:spChg chg="mod">
          <ac:chgData name="Samantha Thomas" userId="0524907a-f487-41f7-ae7e-dc514cfe3326" providerId="ADAL" clId="{65AD0EA1-6ABF-403F-9BAE-FA95A46685F5}" dt="2024-10-18T13:39:43.749" v="1152" actId="20577"/>
          <ac:spMkLst>
            <pc:docMk/>
            <pc:sldMk cId="1516787782" sldId="1101"/>
            <ac:spMk id="3" creationId="{67604014-4255-C222-D71F-87ECBAB2D409}"/>
          </ac:spMkLst>
        </pc:spChg>
        <pc:spChg chg="mod">
          <ac:chgData name="Samantha Thomas" userId="0524907a-f487-41f7-ae7e-dc514cfe3326" providerId="ADAL" clId="{65AD0EA1-6ABF-403F-9BAE-FA95A46685F5}" dt="2024-10-18T13:39:56.592" v="1153" actId="403"/>
          <ac:spMkLst>
            <pc:docMk/>
            <pc:sldMk cId="1516787782" sldId="1101"/>
            <ac:spMk id="6" creationId="{1A1BACCD-4FC9-A988-FA6D-E5206E0EE27B}"/>
          </ac:spMkLst>
        </pc:spChg>
      </pc:sldChg>
      <pc:sldChg chg="modSp mod">
        <pc:chgData name="Samantha Thomas" userId="0524907a-f487-41f7-ae7e-dc514cfe3326" providerId="ADAL" clId="{65AD0EA1-6ABF-403F-9BAE-FA95A46685F5}" dt="2024-10-18T13:41:29.250" v="1369" actId="20577"/>
        <pc:sldMkLst>
          <pc:docMk/>
          <pc:sldMk cId="1679071571" sldId="1102"/>
        </pc:sldMkLst>
        <pc:spChg chg="mod">
          <ac:chgData name="Samantha Thomas" userId="0524907a-f487-41f7-ae7e-dc514cfe3326" providerId="ADAL" clId="{65AD0EA1-6ABF-403F-9BAE-FA95A46685F5}" dt="2024-10-18T13:41:29.250" v="1369" actId="20577"/>
          <ac:spMkLst>
            <pc:docMk/>
            <pc:sldMk cId="1679071571" sldId="1102"/>
            <ac:spMk id="8" creationId="{09C1BAA6-D988-23F3-BCE3-BEFDBE3BABE8}"/>
          </ac:spMkLst>
        </pc:spChg>
      </pc:sldChg>
      <pc:sldChg chg="modSp new mod">
        <pc:chgData name="Samantha Thomas" userId="0524907a-f487-41f7-ae7e-dc514cfe3326" providerId="ADAL" clId="{65AD0EA1-6ABF-403F-9BAE-FA95A46685F5}" dt="2024-10-18T13:49:41.183" v="2508" actId="20577"/>
        <pc:sldMkLst>
          <pc:docMk/>
          <pc:sldMk cId="2198788958" sldId="1103"/>
        </pc:sldMkLst>
        <pc:spChg chg="mod">
          <ac:chgData name="Samantha Thomas" userId="0524907a-f487-41f7-ae7e-dc514cfe3326" providerId="ADAL" clId="{65AD0EA1-6ABF-403F-9BAE-FA95A46685F5}" dt="2024-10-18T13:37:26.148" v="1086" actId="20577"/>
          <ac:spMkLst>
            <pc:docMk/>
            <pc:sldMk cId="2198788958" sldId="1103"/>
            <ac:spMk id="3" creationId="{6E43D1A2-A7B7-1D2D-8D04-4F60DF1024DC}"/>
          </ac:spMkLst>
        </pc:spChg>
        <pc:spChg chg="mod">
          <ac:chgData name="Samantha Thomas" userId="0524907a-f487-41f7-ae7e-dc514cfe3326" providerId="ADAL" clId="{65AD0EA1-6ABF-403F-9BAE-FA95A46685F5}" dt="2024-10-18T13:49:41.183" v="2508" actId="20577"/>
          <ac:spMkLst>
            <pc:docMk/>
            <pc:sldMk cId="2198788958" sldId="1103"/>
            <ac:spMk id="6" creationId="{B0174D49-079F-BE4D-C916-A05666B927C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6B309B-0B2A-49A2-9845-B4D6B3CD5F9A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D6F458D-33E8-4578-995E-00F0622908B6}">
      <dgm:prSet phldrT="[Text]"/>
      <dgm:spPr>
        <a:solidFill>
          <a:schemeClr val="accent6"/>
        </a:solidFill>
      </dgm:spPr>
      <dgm:t>
        <a:bodyPr/>
        <a:lstStyle/>
        <a:p>
          <a:r>
            <a:rPr lang="en-US" dirty="0"/>
            <a:t>Sales request</a:t>
          </a:r>
        </a:p>
      </dgm:t>
    </dgm:pt>
    <dgm:pt modelId="{F4F2DE6E-697D-4A55-B404-A6A32EDFE909}" type="parTrans" cxnId="{A5AB821A-81F3-42B6-8B19-6689D6008594}">
      <dgm:prSet/>
      <dgm:spPr/>
      <dgm:t>
        <a:bodyPr/>
        <a:lstStyle/>
        <a:p>
          <a:endParaRPr lang="en-US"/>
        </a:p>
      </dgm:t>
    </dgm:pt>
    <dgm:pt modelId="{08EADC01-EA38-4050-9E30-2B3A05B1417D}" type="sibTrans" cxnId="{A5AB821A-81F3-42B6-8B19-6689D6008594}">
      <dgm:prSet/>
      <dgm:spPr/>
      <dgm:t>
        <a:bodyPr/>
        <a:lstStyle/>
        <a:p>
          <a:endParaRPr lang="en-US"/>
        </a:p>
      </dgm:t>
    </dgm:pt>
    <dgm:pt modelId="{E1FABF67-D4AE-468B-A3D7-9A62047EFB83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/>
            <a:t>Planning</a:t>
          </a:r>
        </a:p>
      </dgm:t>
    </dgm:pt>
    <dgm:pt modelId="{95F73EA3-FDC7-4560-81BF-7EEF3488A4C9}" type="parTrans" cxnId="{7C039A7E-F13D-4D87-B02A-729B647158B0}">
      <dgm:prSet/>
      <dgm:spPr/>
      <dgm:t>
        <a:bodyPr/>
        <a:lstStyle/>
        <a:p>
          <a:endParaRPr lang="en-US"/>
        </a:p>
      </dgm:t>
    </dgm:pt>
    <dgm:pt modelId="{22389A9E-97DD-4629-902D-C21B7B79B0EE}" type="sibTrans" cxnId="{7C039A7E-F13D-4D87-B02A-729B647158B0}">
      <dgm:prSet/>
      <dgm:spPr/>
      <dgm:t>
        <a:bodyPr/>
        <a:lstStyle/>
        <a:p>
          <a:endParaRPr lang="en-US"/>
        </a:p>
      </dgm:t>
    </dgm:pt>
    <dgm:pt modelId="{B9934B6E-95CC-4E23-A1A1-573DDBB91BDE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/>
            <a:t>Production</a:t>
          </a:r>
        </a:p>
      </dgm:t>
    </dgm:pt>
    <dgm:pt modelId="{A802179D-A748-4796-BEA0-6727F31413C0}" type="parTrans" cxnId="{54B97170-EB3A-4A69-B7C0-9BC77DA84A23}">
      <dgm:prSet/>
      <dgm:spPr/>
      <dgm:t>
        <a:bodyPr/>
        <a:lstStyle/>
        <a:p>
          <a:endParaRPr lang="en-US"/>
        </a:p>
      </dgm:t>
    </dgm:pt>
    <dgm:pt modelId="{C675EC9C-5191-46A1-B78A-039E21E8A1E3}" type="sibTrans" cxnId="{54B97170-EB3A-4A69-B7C0-9BC77DA84A23}">
      <dgm:prSet/>
      <dgm:spPr/>
      <dgm:t>
        <a:bodyPr/>
        <a:lstStyle/>
        <a:p>
          <a:endParaRPr lang="en-US"/>
        </a:p>
      </dgm:t>
    </dgm:pt>
    <dgm:pt modelId="{9D18ECFF-DABF-4126-9344-335D5F91B421}">
      <dgm:prSet/>
      <dgm:spPr>
        <a:solidFill>
          <a:srgbClr val="0070C0"/>
        </a:solidFill>
      </dgm:spPr>
      <dgm:t>
        <a:bodyPr/>
        <a:lstStyle/>
        <a:p>
          <a:r>
            <a:rPr lang="en-US" dirty="0"/>
            <a:t>Operations</a:t>
          </a:r>
        </a:p>
      </dgm:t>
    </dgm:pt>
    <dgm:pt modelId="{52701E5B-3F72-41C9-B6C6-AF34456FB01D}" type="parTrans" cxnId="{CD3A12F5-1470-48A7-8083-5F2D55931453}">
      <dgm:prSet/>
      <dgm:spPr/>
      <dgm:t>
        <a:bodyPr/>
        <a:lstStyle/>
        <a:p>
          <a:endParaRPr lang="en-US"/>
        </a:p>
      </dgm:t>
    </dgm:pt>
    <dgm:pt modelId="{312FD4EB-AFEA-4886-B8EC-CCA097A9849B}" type="sibTrans" cxnId="{CD3A12F5-1470-48A7-8083-5F2D55931453}">
      <dgm:prSet/>
      <dgm:spPr/>
      <dgm:t>
        <a:bodyPr/>
        <a:lstStyle/>
        <a:p>
          <a:endParaRPr lang="en-US"/>
        </a:p>
      </dgm:t>
    </dgm:pt>
    <dgm:pt modelId="{D2E33487-7400-476A-A468-96B7B6D553D4}">
      <dgm:prSet/>
      <dgm:spPr>
        <a:solidFill>
          <a:schemeClr val="accent6"/>
        </a:solidFill>
      </dgm:spPr>
      <dgm:t>
        <a:bodyPr/>
        <a:lstStyle/>
        <a:p>
          <a:r>
            <a:rPr lang="en-US" dirty="0"/>
            <a:t>Delivery</a:t>
          </a:r>
        </a:p>
      </dgm:t>
    </dgm:pt>
    <dgm:pt modelId="{0FAF9481-CF66-497A-B76F-719E7056A869}" type="parTrans" cxnId="{A7FB20EA-97A9-46D3-9D69-7DD3E59F1E99}">
      <dgm:prSet/>
      <dgm:spPr/>
      <dgm:t>
        <a:bodyPr/>
        <a:lstStyle/>
        <a:p>
          <a:endParaRPr lang="en-US"/>
        </a:p>
      </dgm:t>
    </dgm:pt>
    <dgm:pt modelId="{45F74DE9-5381-49D0-9E3E-DCD24635538C}" type="sibTrans" cxnId="{A7FB20EA-97A9-46D3-9D69-7DD3E59F1E99}">
      <dgm:prSet/>
      <dgm:spPr/>
      <dgm:t>
        <a:bodyPr/>
        <a:lstStyle/>
        <a:p>
          <a:endParaRPr lang="en-US"/>
        </a:p>
      </dgm:t>
    </dgm:pt>
    <dgm:pt modelId="{B082CF0A-2732-4B7D-8ED7-EAFA2EFFED55}" type="pres">
      <dgm:prSet presAssocID="{A66B309B-0B2A-49A2-9845-B4D6B3CD5F9A}" presName="Name0" presStyleCnt="0">
        <dgm:presLayoutVars>
          <dgm:dir/>
          <dgm:resizeHandles val="exact"/>
        </dgm:presLayoutVars>
      </dgm:prSet>
      <dgm:spPr/>
    </dgm:pt>
    <dgm:pt modelId="{8D7A392E-9F21-4433-A71A-41A4E58EDDEF}" type="pres">
      <dgm:prSet presAssocID="{1D6F458D-33E8-4578-995E-00F0622908B6}" presName="parTxOnly" presStyleLbl="node1" presStyleIdx="0" presStyleCnt="5">
        <dgm:presLayoutVars>
          <dgm:bulletEnabled val="1"/>
        </dgm:presLayoutVars>
      </dgm:prSet>
      <dgm:spPr/>
    </dgm:pt>
    <dgm:pt modelId="{A1FE154F-EFDD-45A3-A0DF-4F0DCE59F5DC}" type="pres">
      <dgm:prSet presAssocID="{08EADC01-EA38-4050-9E30-2B3A05B1417D}" presName="parSpace" presStyleCnt="0"/>
      <dgm:spPr/>
    </dgm:pt>
    <dgm:pt modelId="{FBDB0837-E0E2-47C6-A805-F3A8285F967C}" type="pres">
      <dgm:prSet presAssocID="{E1FABF67-D4AE-468B-A3D7-9A62047EFB83}" presName="parTxOnly" presStyleLbl="node1" presStyleIdx="1" presStyleCnt="5">
        <dgm:presLayoutVars>
          <dgm:bulletEnabled val="1"/>
        </dgm:presLayoutVars>
      </dgm:prSet>
      <dgm:spPr/>
    </dgm:pt>
    <dgm:pt modelId="{19DBC1C9-29E2-4210-A4D5-39BFF2FE8382}" type="pres">
      <dgm:prSet presAssocID="{22389A9E-97DD-4629-902D-C21B7B79B0EE}" presName="parSpace" presStyleCnt="0"/>
      <dgm:spPr/>
    </dgm:pt>
    <dgm:pt modelId="{E1561ACD-5324-453D-8154-35C07A447A71}" type="pres">
      <dgm:prSet presAssocID="{B9934B6E-95CC-4E23-A1A1-573DDBB91BDE}" presName="parTxOnly" presStyleLbl="node1" presStyleIdx="2" presStyleCnt="5">
        <dgm:presLayoutVars>
          <dgm:bulletEnabled val="1"/>
        </dgm:presLayoutVars>
      </dgm:prSet>
      <dgm:spPr/>
    </dgm:pt>
    <dgm:pt modelId="{60E9CE83-D85E-47AF-BE19-2D6CAF0DBB85}" type="pres">
      <dgm:prSet presAssocID="{C675EC9C-5191-46A1-B78A-039E21E8A1E3}" presName="parSpace" presStyleCnt="0"/>
      <dgm:spPr/>
    </dgm:pt>
    <dgm:pt modelId="{6EECD5D9-A9F7-467F-9DC0-51E9C09680CF}" type="pres">
      <dgm:prSet presAssocID="{9D18ECFF-DABF-4126-9344-335D5F91B421}" presName="parTxOnly" presStyleLbl="node1" presStyleIdx="3" presStyleCnt="5">
        <dgm:presLayoutVars>
          <dgm:bulletEnabled val="1"/>
        </dgm:presLayoutVars>
      </dgm:prSet>
      <dgm:spPr/>
    </dgm:pt>
    <dgm:pt modelId="{5BFB23D0-9237-4883-AC66-DED70254BB6D}" type="pres">
      <dgm:prSet presAssocID="{312FD4EB-AFEA-4886-B8EC-CCA097A9849B}" presName="parSpace" presStyleCnt="0"/>
      <dgm:spPr/>
    </dgm:pt>
    <dgm:pt modelId="{17F29637-8E7C-4826-AADA-0C39358FF788}" type="pres">
      <dgm:prSet presAssocID="{D2E33487-7400-476A-A468-96B7B6D553D4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CE1DC301-BEAC-4129-9478-E9F45A9CE886}" type="presOf" srcId="{D2E33487-7400-476A-A468-96B7B6D553D4}" destId="{17F29637-8E7C-4826-AADA-0C39358FF788}" srcOrd="0" destOrd="0" presId="urn:microsoft.com/office/officeart/2005/8/layout/hChevron3"/>
    <dgm:cxn modelId="{C32B4911-CE3D-4D73-A2C2-135921353A3B}" type="presOf" srcId="{B9934B6E-95CC-4E23-A1A1-573DDBB91BDE}" destId="{E1561ACD-5324-453D-8154-35C07A447A71}" srcOrd="0" destOrd="0" presId="urn:microsoft.com/office/officeart/2005/8/layout/hChevron3"/>
    <dgm:cxn modelId="{A5AB821A-81F3-42B6-8B19-6689D6008594}" srcId="{A66B309B-0B2A-49A2-9845-B4D6B3CD5F9A}" destId="{1D6F458D-33E8-4578-995E-00F0622908B6}" srcOrd="0" destOrd="0" parTransId="{F4F2DE6E-697D-4A55-B404-A6A32EDFE909}" sibTransId="{08EADC01-EA38-4050-9E30-2B3A05B1417D}"/>
    <dgm:cxn modelId="{54B97170-EB3A-4A69-B7C0-9BC77DA84A23}" srcId="{A66B309B-0B2A-49A2-9845-B4D6B3CD5F9A}" destId="{B9934B6E-95CC-4E23-A1A1-573DDBB91BDE}" srcOrd="2" destOrd="0" parTransId="{A802179D-A748-4796-BEA0-6727F31413C0}" sibTransId="{C675EC9C-5191-46A1-B78A-039E21E8A1E3}"/>
    <dgm:cxn modelId="{7C039A7E-F13D-4D87-B02A-729B647158B0}" srcId="{A66B309B-0B2A-49A2-9845-B4D6B3CD5F9A}" destId="{E1FABF67-D4AE-468B-A3D7-9A62047EFB83}" srcOrd="1" destOrd="0" parTransId="{95F73EA3-FDC7-4560-81BF-7EEF3488A4C9}" sibTransId="{22389A9E-97DD-4629-902D-C21B7B79B0EE}"/>
    <dgm:cxn modelId="{988BD183-C4A9-42D5-8074-A72E60FA3A30}" type="presOf" srcId="{1D6F458D-33E8-4578-995E-00F0622908B6}" destId="{8D7A392E-9F21-4433-A71A-41A4E58EDDEF}" srcOrd="0" destOrd="0" presId="urn:microsoft.com/office/officeart/2005/8/layout/hChevron3"/>
    <dgm:cxn modelId="{649D6384-4DC9-4BB2-9C6A-9A10050AEB19}" type="presOf" srcId="{A66B309B-0B2A-49A2-9845-B4D6B3CD5F9A}" destId="{B082CF0A-2732-4B7D-8ED7-EAFA2EFFED55}" srcOrd="0" destOrd="0" presId="urn:microsoft.com/office/officeart/2005/8/layout/hChevron3"/>
    <dgm:cxn modelId="{A7FB20EA-97A9-46D3-9D69-7DD3E59F1E99}" srcId="{A66B309B-0B2A-49A2-9845-B4D6B3CD5F9A}" destId="{D2E33487-7400-476A-A468-96B7B6D553D4}" srcOrd="4" destOrd="0" parTransId="{0FAF9481-CF66-497A-B76F-719E7056A869}" sibTransId="{45F74DE9-5381-49D0-9E3E-DCD24635538C}"/>
    <dgm:cxn modelId="{CD3A12F5-1470-48A7-8083-5F2D55931453}" srcId="{A66B309B-0B2A-49A2-9845-B4D6B3CD5F9A}" destId="{9D18ECFF-DABF-4126-9344-335D5F91B421}" srcOrd="3" destOrd="0" parTransId="{52701E5B-3F72-41C9-B6C6-AF34456FB01D}" sibTransId="{312FD4EB-AFEA-4886-B8EC-CCA097A9849B}"/>
    <dgm:cxn modelId="{792604F7-F958-469C-986D-C0D469C5AE90}" type="presOf" srcId="{E1FABF67-D4AE-468B-A3D7-9A62047EFB83}" destId="{FBDB0837-E0E2-47C6-A805-F3A8285F967C}" srcOrd="0" destOrd="0" presId="urn:microsoft.com/office/officeart/2005/8/layout/hChevron3"/>
    <dgm:cxn modelId="{89E261F9-F9CB-4AD6-ACB8-DFB23D97CEED}" type="presOf" srcId="{9D18ECFF-DABF-4126-9344-335D5F91B421}" destId="{6EECD5D9-A9F7-467F-9DC0-51E9C09680CF}" srcOrd="0" destOrd="0" presId="urn:microsoft.com/office/officeart/2005/8/layout/hChevron3"/>
    <dgm:cxn modelId="{1836E263-4DA9-43BC-A5DE-2269244D900B}" type="presParOf" srcId="{B082CF0A-2732-4B7D-8ED7-EAFA2EFFED55}" destId="{8D7A392E-9F21-4433-A71A-41A4E58EDDEF}" srcOrd="0" destOrd="0" presId="urn:microsoft.com/office/officeart/2005/8/layout/hChevron3"/>
    <dgm:cxn modelId="{5FDDBEC0-1634-4EB0-BD95-84A7C0369845}" type="presParOf" srcId="{B082CF0A-2732-4B7D-8ED7-EAFA2EFFED55}" destId="{A1FE154F-EFDD-45A3-A0DF-4F0DCE59F5DC}" srcOrd="1" destOrd="0" presId="urn:microsoft.com/office/officeart/2005/8/layout/hChevron3"/>
    <dgm:cxn modelId="{6B3D932C-C2F1-4143-9D75-5233A6D8FA3B}" type="presParOf" srcId="{B082CF0A-2732-4B7D-8ED7-EAFA2EFFED55}" destId="{FBDB0837-E0E2-47C6-A805-F3A8285F967C}" srcOrd="2" destOrd="0" presId="urn:microsoft.com/office/officeart/2005/8/layout/hChevron3"/>
    <dgm:cxn modelId="{24174673-7835-4A57-BBB0-D2C144064FFD}" type="presParOf" srcId="{B082CF0A-2732-4B7D-8ED7-EAFA2EFFED55}" destId="{19DBC1C9-29E2-4210-A4D5-39BFF2FE8382}" srcOrd="3" destOrd="0" presId="urn:microsoft.com/office/officeart/2005/8/layout/hChevron3"/>
    <dgm:cxn modelId="{3ACF4D1C-8C3D-45F7-8BFD-241F67ABA240}" type="presParOf" srcId="{B082CF0A-2732-4B7D-8ED7-EAFA2EFFED55}" destId="{E1561ACD-5324-453D-8154-35C07A447A71}" srcOrd="4" destOrd="0" presId="urn:microsoft.com/office/officeart/2005/8/layout/hChevron3"/>
    <dgm:cxn modelId="{9134C41F-BD1A-4537-B5BC-86CBB2CC47D9}" type="presParOf" srcId="{B082CF0A-2732-4B7D-8ED7-EAFA2EFFED55}" destId="{60E9CE83-D85E-47AF-BE19-2D6CAF0DBB85}" srcOrd="5" destOrd="0" presId="urn:microsoft.com/office/officeart/2005/8/layout/hChevron3"/>
    <dgm:cxn modelId="{0DF89FB1-F2B1-4D62-B193-366BE477676A}" type="presParOf" srcId="{B082CF0A-2732-4B7D-8ED7-EAFA2EFFED55}" destId="{6EECD5D9-A9F7-467F-9DC0-51E9C09680CF}" srcOrd="6" destOrd="0" presId="urn:microsoft.com/office/officeart/2005/8/layout/hChevron3"/>
    <dgm:cxn modelId="{82A2D625-7AAA-4E7B-AC2B-83D88E1DF80B}" type="presParOf" srcId="{B082CF0A-2732-4B7D-8ED7-EAFA2EFFED55}" destId="{5BFB23D0-9237-4883-AC66-DED70254BB6D}" srcOrd="7" destOrd="0" presId="urn:microsoft.com/office/officeart/2005/8/layout/hChevron3"/>
    <dgm:cxn modelId="{B1565E59-A1E1-43B7-B46B-4BE61AB65521}" type="presParOf" srcId="{B082CF0A-2732-4B7D-8ED7-EAFA2EFFED55}" destId="{17F29637-8E7C-4826-AADA-0C39358FF788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66B309B-0B2A-49A2-9845-B4D6B3CD5F9A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1D6F458D-33E8-4578-995E-00F0622908B6}">
      <dgm:prSet phldrT="[Text]"/>
      <dgm:spPr>
        <a:solidFill>
          <a:schemeClr val="accent6"/>
        </a:solidFill>
      </dgm:spPr>
      <dgm:t>
        <a:bodyPr/>
        <a:lstStyle/>
        <a:p>
          <a:r>
            <a:rPr lang="en-US" dirty="0"/>
            <a:t>Sales request</a:t>
          </a:r>
        </a:p>
      </dgm:t>
    </dgm:pt>
    <dgm:pt modelId="{F4F2DE6E-697D-4A55-B404-A6A32EDFE909}" type="parTrans" cxnId="{A5AB821A-81F3-42B6-8B19-6689D6008594}">
      <dgm:prSet/>
      <dgm:spPr/>
      <dgm:t>
        <a:bodyPr/>
        <a:lstStyle/>
        <a:p>
          <a:endParaRPr lang="en-US"/>
        </a:p>
      </dgm:t>
    </dgm:pt>
    <dgm:pt modelId="{08EADC01-EA38-4050-9E30-2B3A05B1417D}" type="sibTrans" cxnId="{A5AB821A-81F3-42B6-8B19-6689D6008594}">
      <dgm:prSet/>
      <dgm:spPr/>
      <dgm:t>
        <a:bodyPr/>
        <a:lstStyle/>
        <a:p>
          <a:endParaRPr lang="en-US"/>
        </a:p>
      </dgm:t>
    </dgm:pt>
    <dgm:pt modelId="{E1FABF67-D4AE-468B-A3D7-9A62047EFB83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/>
            <a:t>Planning</a:t>
          </a:r>
        </a:p>
      </dgm:t>
    </dgm:pt>
    <dgm:pt modelId="{95F73EA3-FDC7-4560-81BF-7EEF3488A4C9}" type="parTrans" cxnId="{7C039A7E-F13D-4D87-B02A-729B647158B0}">
      <dgm:prSet/>
      <dgm:spPr/>
      <dgm:t>
        <a:bodyPr/>
        <a:lstStyle/>
        <a:p>
          <a:endParaRPr lang="en-US"/>
        </a:p>
      </dgm:t>
    </dgm:pt>
    <dgm:pt modelId="{22389A9E-97DD-4629-902D-C21B7B79B0EE}" type="sibTrans" cxnId="{7C039A7E-F13D-4D87-B02A-729B647158B0}">
      <dgm:prSet/>
      <dgm:spPr/>
      <dgm:t>
        <a:bodyPr/>
        <a:lstStyle/>
        <a:p>
          <a:endParaRPr lang="en-US"/>
        </a:p>
      </dgm:t>
    </dgm:pt>
    <dgm:pt modelId="{B9934B6E-95CC-4E23-A1A1-573DDBB91BDE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/>
            <a:t>Production</a:t>
          </a:r>
        </a:p>
      </dgm:t>
    </dgm:pt>
    <dgm:pt modelId="{A802179D-A748-4796-BEA0-6727F31413C0}" type="parTrans" cxnId="{54B97170-EB3A-4A69-B7C0-9BC77DA84A23}">
      <dgm:prSet/>
      <dgm:spPr/>
      <dgm:t>
        <a:bodyPr/>
        <a:lstStyle/>
        <a:p>
          <a:endParaRPr lang="en-US"/>
        </a:p>
      </dgm:t>
    </dgm:pt>
    <dgm:pt modelId="{C675EC9C-5191-46A1-B78A-039E21E8A1E3}" type="sibTrans" cxnId="{54B97170-EB3A-4A69-B7C0-9BC77DA84A23}">
      <dgm:prSet/>
      <dgm:spPr/>
      <dgm:t>
        <a:bodyPr/>
        <a:lstStyle/>
        <a:p>
          <a:endParaRPr lang="en-US"/>
        </a:p>
      </dgm:t>
    </dgm:pt>
    <dgm:pt modelId="{9D18ECFF-DABF-4126-9344-335D5F91B421}">
      <dgm:prSet/>
      <dgm:spPr>
        <a:solidFill>
          <a:srgbClr val="0070C0"/>
        </a:solidFill>
      </dgm:spPr>
      <dgm:t>
        <a:bodyPr/>
        <a:lstStyle/>
        <a:p>
          <a:r>
            <a:rPr lang="en-US" dirty="0"/>
            <a:t>Operations</a:t>
          </a:r>
        </a:p>
      </dgm:t>
    </dgm:pt>
    <dgm:pt modelId="{52701E5B-3F72-41C9-B6C6-AF34456FB01D}" type="parTrans" cxnId="{CD3A12F5-1470-48A7-8083-5F2D55931453}">
      <dgm:prSet/>
      <dgm:spPr/>
      <dgm:t>
        <a:bodyPr/>
        <a:lstStyle/>
        <a:p>
          <a:endParaRPr lang="en-US"/>
        </a:p>
      </dgm:t>
    </dgm:pt>
    <dgm:pt modelId="{312FD4EB-AFEA-4886-B8EC-CCA097A9849B}" type="sibTrans" cxnId="{CD3A12F5-1470-48A7-8083-5F2D55931453}">
      <dgm:prSet/>
      <dgm:spPr/>
      <dgm:t>
        <a:bodyPr/>
        <a:lstStyle/>
        <a:p>
          <a:endParaRPr lang="en-US"/>
        </a:p>
      </dgm:t>
    </dgm:pt>
    <dgm:pt modelId="{D2E33487-7400-476A-A468-96B7B6D553D4}">
      <dgm:prSet/>
      <dgm:spPr>
        <a:solidFill>
          <a:schemeClr val="accent6"/>
        </a:solidFill>
      </dgm:spPr>
      <dgm:t>
        <a:bodyPr/>
        <a:lstStyle/>
        <a:p>
          <a:r>
            <a:rPr lang="en-US" dirty="0"/>
            <a:t>Delivery</a:t>
          </a:r>
        </a:p>
      </dgm:t>
    </dgm:pt>
    <dgm:pt modelId="{0FAF9481-CF66-497A-B76F-719E7056A869}" type="parTrans" cxnId="{A7FB20EA-97A9-46D3-9D69-7DD3E59F1E99}">
      <dgm:prSet/>
      <dgm:spPr/>
      <dgm:t>
        <a:bodyPr/>
        <a:lstStyle/>
        <a:p>
          <a:endParaRPr lang="en-US"/>
        </a:p>
      </dgm:t>
    </dgm:pt>
    <dgm:pt modelId="{45F74DE9-5381-49D0-9E3E-DCD24635538C}" type="sibTrans" cxnId="{A7FB20EA-97A9-46D3-9D69-7DD3E59F1E99}">
      <dgm:prSet/>
      <dgm:spPr/>
      <dgm:t>
        <a:bodyPr/>
        <a:lstStyle/>
        <a:p>
          <a:endParaRPr lang="en-US"/>
        </a:p>
      </dgm:t>
    </dgm:pt>
    <dgm:pt modelId="{B082CF0A-2732-4B7D-8ED7-EAFA2EFFED55}" type="pres">
      <dgm:prSet presAssocID="{A66B309B-0B2A-49A2-9845-B4D6B3CD5F9A}" presName="Name0" presStyleCnt="0">
        <dgm:presLayoutVars>
          <dgm:dir/>
          <dgm:resizeHandles val="exact"/>
        </dgm:presLayoutVars>
      </dgm:prSet>
      <dgm:spPr/>
    </dgm:pt>
    <dgm:pt modelId="{8D7A392E-9F21-4433-A71A-41A4E58EDDEF}" type="pres">
      <dgm:prSet presAssocID="{1D6F458D-33E8-4578-995E-00F0622908B6}" presName="parTxOnly" presStyleLbl="node1" presStyleIdx="0" presStyleCnt="5">
        <dgm:presLayoutVars>
          <dgm:bulletEnabled val="1"/>
        </dgm:presLayoutVars>
      </dgm:prSet>
      <dgm:spPr/>
    </dgm:pt>
    <dgm:pt modelId="{A1FE154F-EFDD-45A3-A0DF-4F0DCE59F5DC}" type="pres">
      <dgm:prSet presAssocID="{08EADC01-EA38-4050-9E30-2B3A05B1417D}" presName="parSpace" presStyleCnt="0"/>
      <dgm:spPr/>
    </dgm:pt>
    <dgm:pt modelId="{FBDB0837-E0E2-47C6-A805-F3A8285F967C}" type="pres">
      <dgm:prSet presAssocID="{E1FABF67-D4AE-468B-A3D7-9A62047EFB83}" presName="parTxOnly" presStyleLbl="node1" presStyleIdx="1" presStyleCnt="5">
        <dgm:presLayoutVars>
          <dgm:bulletEnabled val="1"/>
        </dgm:presLayoutVars>
      </dgm:prSet>
      <dgm:spPr/>
    </dgm:pt>
    <dgm:pt modelId="{19DBC1C9-29E2-4210-A4D5-39BFF2FE8382}" type="pres">
      <dgm:prSet presAssocID="{22389A9E-97DD-4629-902D-C21B7B79B0EE}" presName="parSpace" presStyleCnt="0"/>
      <dgm:spPr/>
    </dgm:pt>
    <dgm:pt modelId="{E1561ACD-5324-453D-8154-35C07A447A71}" type="pres">
      <dgm:prSet presAssocID="{B9934B6E-95CC-4E23-A1A1-573DDBB91BDE}" presName="parTxOnly" presStyleLbl="node1" presStyleIdx="2" presStyleCnt="5">
        <dgm:presLayoutVars>
          <dgm:bulletEnabled val="1"/>
        </dgm:presLayoutVars>
      </dgm:prSet>
      <dgm:spPr/>
    </dgm:pt>
    <dgm:pt modelId="{60E9CE83-D85E-47AF-BE19-2D6CAF0DBB85}" type="pres">
      <dgm:prSet presAssocID="{C675EC9C-5191-46A1-B78A-039E21E8A1E3}" presName="parSpace" presStyleCnt="0"/>
      <dgm:spPr/>
    </dgm:pt>
    <dgm:pt modelId="{6EECD5D9-A9F7-467F-9DC0-51E9C09680CF}" type="pres">
      <dgm:prSet presAssocID="{9D18ECFF-DABF-4126-9344-335D5F91B421}" presName="parTxOnly" presStyleLbl="node1" presStyleIdx="3" presStyleCnt="5">
        <dgm:presLayoutVars>
          <dgm:bulletEnabled val="1"/>
        </dgm:presLayoutVars>
      </dgm:prSet>
      <dgm:spPr/>
    </dgm:pt>
    <dgm:pt modelId="{5BFB23D0-9237-4883-AC66-DED70254BB6D}" type="pres">
      <dgm:prSet presAssocID="{312FD4EB-AFEA-4886-B8EC-CCA097A9849B}" presName="parSpace" presStyleCnt="0"/>
      <dgm:spPr/>
    </dgm:pt>
    <dgm:pt modelId="{17F29637-8E7C-4826-AADA-0C39358FF788}" type="pres">
      <dgm:prSet presAssocID="{D2E33487-7400-476A-A468-96B7B6D553D4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CE1DC301-BEAC-4129-9478-E9F45A9CE886}" type="presOf" srcId="{D2E33487-7400-476A-A468-96B7B6D553D4}" destId="{17F29637-8E7C-4826-AADA-0C39358FF788}" srcOrd="0" destOrd="0" presId="urn:microsoft.com/office/officeart/2005/8/layout/hChevron3"/>
    <dgm:cxn modelId="{C32B4911-CE3D-4D73-A2C2-135921353A3B}" type="presOf" srcId="{B9934B6E-95CC-4E23-A1A1-573DDBB91BDE}" destId="{E1561ACD-5324-453D-8154-35C07A447A71}" srcOrd="0" destOrd="0" presId="urn:microsoft.com/office/officeart/2005/8/layout/hChevron3"/>
    <dgm:cxn modelId="{A5AB821A-81F3-42B6-8B19-6689D6008594}" srcId="{A66B309B-0B2A-49A2-9845-B4D6B3CD5F9A}" destId="{1D6F458D-33E8-4578-995E-00F0622908B6}" srcOrd="0" destOrd="0" parTransId="{F4F2DE6E-697D-4A55-B404-A6A32EDFE909}" sibTransId="{08EADC01-EA38-4050-9E30-2B3A05B1417D}"/>
    <dgm:cxn modelId="{54B97170-EB3A-4A69-B7C0-9BC77DA84A23}" srcId="{A66B309B-0B2A-49A2-9845-B4D6B3CD5F9A}" destId="{B9934B6E-95CC-4E23-A1A1-573DDBB91BDE}" srcOrd="2" destOrd="0" parTransId="{A802179D-A748-4796-BEA0-6727F31413C0}" sibTransId="{C675EC9C-5191-46A1-B78A-039E21E8A1E3}"/>
    <dgm:cxn modelId="{7C039A7E-F13D-4D87-B02A-729B647158B0}" srcId="{A66B309B-0B2A-49A2-9845-B4D6B3CD5F9A}" destId="{E1FABF67-D4AE-468B-A3D7-9A62047EFB83}" srcOrd="1" destOrd="0" parTransId="{95F73EA3-FDC7-4560-81BF-7EEF3488A4C9}" sibTransId="{22389A9E-97DD-4629-902D-C21B7B79B0EE}"/>
    <dgm:cxn modelId="{988BD183-C4A9-42D5-8074-A72E60FA3A30}" type="presOf" srcId="{1D6F458D-33E8-4578-995E-00F0622908B6}" destId="{8D7A392E-9F21-4433-A71A-41A4E58EDDEF}" srcOrd="0" destOrd="0" presId="urn:microsoft.com/office/officeart/2005/8/layout/hChevron3"/>
    <dgm:cxn modelId="{649D6384-4DC9-4BB2-9C6A-9A10050AEB19}" type="presOf" srcId="{A66B309B-0B2A-49A2-9845-B4D6B3CD5F9A}" destId="{B082CF0A-2732-4B7D-8ED7-EAFA2EFFED55}" srcOrd="0" destOrd="0" presId="urn:microsoft.com/office/officeart/2005/8/layout/hChevron3"/>
    <dgm:cxn modelId="{A7FB20EA-97A9-46D3-9D69-7DD3E59F1E99}" srcId="{A66B309B-0B2A-49A2-9845-B4D6B3CD5F9A}" destId="{D2E33487-7400-476A-A468-96B7B6D553D4}" srcOrd="4" destOrd="0" parTransId="{0FAF9481-CF66-497A-B76F-719E7056A869}" sibTransId="{45F74DE9-5381-49D0-9E3E-DCD24635538C}"/>
    <dgm:cxn modelId="{CD3A12F5-1470-48A7-8083-5F2D55931453}" srcId="{A66B309B-0B2A-49A2-9845-B4D6B3CD5F9A}" destId="{9D18ECFF-DABF-4126-9344-335D5F91B421}" srcOrd="3" destOrd="0" parTransId="{52701E5B-3F72-41C9-B6C6-AF34456FB01D}" sibTransId="{312FD4EB-AFEA-4886-B8EC-CCA097A9849B}"/>
    <dgm:cxn modelId="{792604F7-F958-469C-986D-C0D469C5AE90}" type="presOf" srcId="{E1FABF67-D4AE-468B-A3D7-9A62047EFB83}" destId="{FBDB0837-E0E2-47C6-A805-F3A8285F967C}" srcOrd="0" destOrd="0" presId="urn:microsoft.com/office/officeart/2005/8/layout/hChevron3"/>
    <dgm:cxn modelId="{89E261F9-F9CB-4AD6-ACB8-DFB23D97CEED}" type="presOf" srcId="{9D18ECFF-DABF-4126-9344-335D5F91B421}" destId="{6EECD5D9-A9F7-467F-9DC0-51E9C09680CF}" srcOrd="0" destOrd="0" presId="urn:microsoft.com/office/officeart/2005/8/layout/hChevron3"/>
    <dgm:cxn modelId="{1836E263-4DA9-43BC-A5DE-2269244D900B}" type="presParOf" srcId="{B082CF0A-2732-4B7D-8ED7-EAFA2EFFED55}" destId="{8D7A392E-9F21-4433-A71A-41A4E58EDDEF}" srcOrd="0" destOrd="0" presId="urn:microsoft.com/office/officeart/2005/8/layout/hChevron3"/>
    <dgm:cxn modelId="{5FDDBEC0-1634-4EB0-BD95-84A7C0369845}" type="presParOf" srcId="{B082CF0A-2732-4B7D-8ED7-EAFA2EFFED55}" destId="{A1FE154F-EFDD-45A3-A0DF-4F0DCE59F5DC}" srcOrd="1" destOrd="0" presId="urn:microsoft.com/office/officeart/2005/8/layout/hChevron3"/>
    <dgm:cxn modelId="{6B3D932C-C2F1-4143-9D75-5233A6D8FA3B}" type="presParOf" srcId="{B082CF0A-2732-4B7D-8ED7-EAFA2EFFED55}" destId="{FBDB0837-E0E2-47C6-A805-F3A8285F967C}" srcOrd="2" destOrd="0" presId="urn:microsoft.com/office/officeart/2005/8/layout/hChevron3"/>
    <dgm:cxn modelId="{24174673-7835-4A57-BBB0-D2C144064FFD}" type="presParOf" srcId="{B082CF0A-2732-4B7D-8ED7-EAFA2EFFED55}" destId="{19DBC1C9-29E2-4210-A4D5-39BFF2FE8382}" srcOrd="3" destOrd="0" presId="urn:microsoft.com/office/officeart/2005/8/layout/hChevron3"/>
    <dgm:cxn modelId="{3ACF4D1C-8C3D-45F7-8BFD-241F67ABA240}" type="presParOf" srcId="{B082CF0A-2732-4B7D-8ED7-EAFA2EFFED55}" destId="{E1561ACD-5324-453D-8154-35C07A447A71}" srcOrd="4" destOrd="0" presId="urn:microsoft.com/office/officeart/2005/8/layout/hChevron3"/>
    <dgm:cxn modelId="{9134C41F-BD1A-4537-B5BC-86CBB2CC47D9}" type="presParOf" srcId="{B082CF0A-2732-4B7D-8ED7-EAFA2EFFED55}" destId="{60E9CE83-D85E-47AF-BE19-2D6CAF0DBB85}" srcOrd="5" destOrd="0" presId="urn:microsoft.com/office/officeart/2005/8/layout/hChevron3"/>
    <dgm:cxn modelId="{0DF89FB1-F2B1-4D62-B193-366BE477676A}" type="presParOf" srcId="{B082CF0A-2732-4B7D-8ED7-EAFA2EFFED55}" destId="{6EECD5D9-A9F7-467F-9DC0-51E9C09680CF}" srcOrd="6" destOrd="0" presId="urn:microsoft.com/office/officeart/2005/8/layout/hChevron3"/>
    <dgm:cxn modelId="{82A2D625-7AAA-4E7B-AC2B-83D88E1DF80B}" type="presParOf" srcId="{B082CF0A-2732-4B7D-8ED7-EAFA2EFFED55}" destId="{5BFB23D0-9237-4883-AC66-DED70254BB6D}" srcOrd="7" destOrd="0" presId="urn:microsoft.com/office/officeart/2005/8/layout/hChevron3"/>
    <dgm:cxn modelId="{B1565E59-A1E1-43B7-B46B-4BE61AB65521}" type="presParOf" srcId="{B082CF0A-2732-4B7D-8ED7-EAFA2EFFED55}" destId="{17F29637-8E7C-4826-AADA-0C39358FF788}" srcOrd="8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7A392E-9F21-4433-A71A-41A4E58EDDEF}">
      <dsp:nvSpPr>
        <dsp:cNvPr id="0" name=""/>
        <dsp:cNvSpPr/>
      </dsp:nvSpPr>
      <dsp:spPr>
        <a:xfrm>
          <a:off x="1358" y="1109357"/>
          <a:ext cx="2649224" cy="1059689"/>
        </a:xfrm>
        <a:prstGeom prst="homePlate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268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ales request</a:t>
          </a:r>
        </a:p>
      </dsp:txBody>
      <dsp:txXfrm>
        <a:off x="1358" y="1109357"/>
        <a:ext cx="2384302" cy="1059689"/>
      </dsp:txXfrm>
    </dsp:sp>
    <dsp:sp modelId="{FBDB0837-E0E2-47C6-A805-F3A8285F967C}">
      <dsp:nvSpPr>
        <dsp:cNvPr id="0" name=""/>
        <dsp:cNvSpPr/>
      </dsp:nvSpPr>
      <dsp:spPr>
        <a:xfrm>
          <a:off x="2120738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lanning</a:t>
          </a:r>
        </a:p>
      </dsp:txBody>
      <dsp:txXfrm>
        <a:off x="2650583" y="1109357"/>
        <a:ext cx="1589535" cy="1059689"/>
      </dsp:txXfrm>
    </dsp:sp>
    <dsp:sp modelId="{E1561ACD-5324-453D-8154-35C07A447A71}">
      <dsp:nvSpPr>
        <dsp:cNvPr id="0" name=""/>
        <dsp:cNvSpPr/>
      </dsp:nvSpPr>
      <dsp:spPr>
        <a:xfrm>
          <a:off x="4240118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roduction</a:t>
          </a:r>
        </a:p>
      </dsp:txBody>
      <dsp:txXfrm>
        <a:off x="4769963" y="1109357"/>
        <a:ext cx="1589535" cy="1059689"/>
      </dsp:txXfrm>
    </dsp:sp>
    <dsp:sp modelId="{6EECD5D9-A9F7-467F-9DC0-51E9C09680CF}">
      <dsp:nvSpPr>
        <dsp:cNvPr id="0" name=""/>
        <dsp:cNvSpPr/>
      </dsp:nvSpPr>
      <dsp:spPr>
        <a:xfrm>
          <a:off x="6359497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Operations</a:t>
          </a:r>
        </a:p>
      </dsp:txBody>
      <dsp:txXfrm>
        <a:off x="6889342" y="1109357"/>
        <a:ext cx="1589535" cy="1059689"/>
      </dsp:txXfrm>
    </dsp:sp>
    <dsp:sp modelId="{17F29637-8E7C-4826-AADA-0C39358FF788}">
      <dsp:nvSpPr>
        <dsp:cNvPr id="0" name=""/>
        <dsp:cNvSpPr/>
      </dsp:nvSpPr>
      <dsp:spPr>
        <a:xfrm>
          <a:off x="8478877" y="1109357"/>
          <a:ext cx="2649224" cy="1059689"/>
        </a:xfrm>
        <a:prstGeom prst="chevron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elivery</a:t>
          </a:r>
        </a:p>
      </dsp:txBody>
      <dsp:txXfrm>
        <a:off x="9008722" y="1109357"/>
        <a:ext cx="1589535" cy="10596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7A392E-9F21-4433-A71A-41A4E58EDDEF}">
      <dsp:nvSpPr>
        <dsp:cNvPr id="0" name=""/>
        <dsp:cNvSpPr/>
      </dsp:nvSpPr>
      <dsp:spPr>
        <a:xfrm>
          <a:off x="1358" y="1109357"/>
          <a:ext cx="2649224" cy="1059689"/>
        </a:xfrm>
        <a:prstGeom prst="homePlate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268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ales request</a:t>
          </a:r>
        </a:p>
      </dsp:txBody>
      <dsp:txXfrm>
        <a:off x="1358" y="1109357"/>
        <a:ext cx="2384302" cy="1059689"/>
      </dsp:txXfrm>
    </dsp:sp>
    <dsp:sp modelId="{FBDB0837-E0E2-47C6-A805-F3A8285F967C}">
      <dsp:nvSpPr>
        <dsp:cNvPr id="0" name=""/>
        <dsp:cNvSpPr/>
      </dsp:nvSpPr>
      <dsp:spPr>
        <a:xfrm>
          <a:off x="2120738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lanning</a:t>
          </a:r>
        </a:p>
      </dsp:txBody>
      <dsp:txXfrm>
        <a:off x="2650583" y="1109357"/>
        <a:ext cx="1589535" cy="1059689"/>
      </dsp:txXfrm>
    </dsp:sp>
    <dsp:sp modelId="{E1561ACD-5324-453D-8154-35C07A447A71}">
      <dsp:nvSpPr>
        <dsp:cNvPr id="0" name=""/>
        <dsp:cNvSpPr/>
      </dsp:nvSpPr>
      <dsp:spPr>
        <a:xfrm>
          <a:off x="4240118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roduction</a:t>
          </a:r>
        </a:p>
      </dsp:txBody>
      <dsp:txXfrm>
        <a:off x="4769963" y="1109357"/>
        <a:ext cx="1589535" cy="1059689"/>
      </dsp:txXfrm>
    </dsp:sp>
    <dsp:sp modelId="{6EECD5D9-A9F7-467F-9DC0-51E9C09680CF}">
      <dsp:nvSpPr>
        <dsp:cNvPr id="0" name=""/>
        <dsp:cNvSpPr/>
      </dsp:nvSpPr>
      <dsp:spPr>
        <a:xfrm>
          <a:off x="6359497" y="1109357"/>
          <a:ext cx="2649224" cy="1059689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Operations</a:t>
          </a:r>
        </a:p>
      </dsp:txBody>
      <dsp:txXfrm>
        <a:off x="6889342" y="1109357"/>
        <a:ext cx="1589535" cy="1059689"/>
      </dsp:txXfrm>
    </dsp:sp>
    <dsp:sp modelId="{17F29637-8E7C-4826-AADA-0C39358FF788}">
      <dsp:nvSpPr>
        <dsp:cNvPr id="0" name=""/>
        <dsp:cNvSpPr/>
      </dsp:nvSpPr>
      <dsp:spPr>
        <a:xfrm>
          <a:off x="8478877" y="1109357"/>
          <a:ext cx="2649224" cy="1059689"/>
        </a:xfrm>
        <a:prstGeom prst="chevron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elivery</a:t>
          </a:r>
        </a:p>
      </dsp:txBody>
      <dsp:txXfrm>
        <a:off x="9008722" y="1109357"/>
        <a:ext cx="1589535" cy="10596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0/16/2024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0/16/2024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iland=~1.4M pla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BEA8-B327-416A-897B-0B735F3E3C7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351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9A02F-357D-AF42-B110-A7740AFDCA1B}" type="datetimeFigureOut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EAD10-2DEC-401A-B3D3-1C18B5B811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42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7238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587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1D69867-9232-4ACB-AE60-60D17315360A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5431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10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2" r:id="rId17"/>
    <p:sldLayoutId id="2147484373" r:id="rId18"/>
    <p:sldLayoutId id="2147484374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14.jp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E1DA7F-BD87-4A99-B09E-AE101871B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071293-33AE-422F-9DE8-BA6A75A1D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161C9C3-DB14-469B-A4C6-A4A0475574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4672" y="1704948"/>
            <a:ext cx="3379279" cy="1440000"/>
          </a:xfrm>
        </p:spPr>
        <p:txBody>
          <a:bodyPr/>
          <a:lstStyle/>
          <a:p>
            <a:r>
              <a:rPr lang="en-US" sz="2800" dirty="0"/>
              <a:t>Quality Control Systems and Systems Approaches: an Industry Perspectiv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743144-72AA-4D33-AFDF-6867E09C8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6688" y="4262151"/>
            <a:ext cx="3355245" cy="1080000"/>
          </a:xfrm>
        </p:spPr>
        <p:txBody>
          <a:bodyPr/>
          <a:lstStyle/>
          <a:p>
            <a:r>
              <a:rPr lang="en-US" dirty="0"/>
              <a:t>Samantha Thomas</a:t>
            </a:r>
          </a:p>
          <a:p>
            <a:endParaRPr lang="en-US" dirty="0"/>
          </a:p>
          <a:p>
            <a:r>
              <a:rPr lang="en-US" sz="1600" b="0" dirty="0"/>
              <a:t>NAPPO Annual meeting</a:t>
            </a:r>
          </a:p>
          <a:p>
            <a:r>
              <a:rPr lang="en-US" sz="1600" b="0" dirty="0"/>
              <a:t>October 2024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557354D1-1710-400F-8239-BA7B3E5333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5770" r="577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7904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6D0F152-BE14-4EFC-A404-BA19ACBA4713}"/>
              </a:ext>
            </a:extLst>
          </p:cNvPr>
          <p:cNvGraphicFramePr/>
          <p:nvPr/>
        </p:nvGraphicFramePr>
        <p:xfrm>
          <a:off x="746615" y="3450958"/>
          <a:ext cx="11129461" cy="3278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19351FC-CE24-47FF-99F5-13C656E48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Basic Business Princip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7A98432-1F75-4578-B5F8-2D27F27CC2E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81821" y="1754835"/>
            <a:ext cx="10798461" cy="3005503"/>
          </a:xfrm>
        </p:spPr>
        <p:txBody>
          <a:bodyPr/>
          <a:lstStyle/>
          <a:p>
            <a:r>
              <a:rPr lang="en-US" sz="2400" dirty="0"/>
              <a:t>The vegetable seed industry goal: generate and deliver a product that meets customer needs</a:t>
            </a:r>
          </a:p>
          <a:p>
            <a:pPr lvl="1"/>
            <a:r>
              <a:rPr lang="en-US" sz="2000" b="1" dirty="0"/>
              <a:t>Time</a:t>
            </a:r>
            <a:r>
              <a:rPr lang="en-US" sz="2000" dirty="0"/>
              <a:t>: delivered when its needed</a:t>
            </a:r>
          </a:p>
          <a:p>
            <a:pPr lvl="1"/>
            <a:r>
              <a:rPr lang="en-US" sz="2000" b="1" dirty="0"/>
              <a:t>Cost</a:t>
            </a:r>
            <a:r>
              <a:rPr lang="en-US" sz="2000" dirty="0"/>
              <a:t>: delivered at the right cost</a:t>
            </a:r>
          </a:p>
          <a:p>
            <a:pPr lvl="1"/>
            <a:r>
              <a:rPr lang="en-US" sz="2000" b="1" dirty="0"/>
              <a:t>Quality</a:t>
            </a:r>
            <a:r>
              <a:rPr lang="en-US" sz="2000" dirty="0"/>
              <a:t>: germination, vigor, hybridity, seed health</a:t>
            </a:r>
          </a:p>
          <a:p>
            <a:pPr marL="0" lvl="1" indent="0">
              <a:buNone/>
            </a:pPr>
            <a:r>
              <a:rPr lang="en-US" sz="2000" i="1" dirty="0">
                <a:solidFill>
                  <a:schemeClr val="accent4"/>
                </a:solidFill>
              </a:rPr>
              <a:t>	Failure to do so may result in a loss of sales or customer…</a:t>
            </a:r>
          </a:p>
          <a:p>
            <a:endParaRPr lang="en-US" sz="2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AAA696-C232-4EE0-BFF6-983A8EA824D1}"/>
              </a:ext>
            </a:extLst>
          </p:cNvPr>
          <p:cNvSpPr txBox="1"/>
          <p:nvPr/>
        </p:nvSpPr>
        <p:spPr bwMode="gray">
          <a:xfrm>
            <a:off x="9265920" y="432816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EDB48B-12E6-460A-85A6-A2FF79227BCE}"/>
              </a:ext>
            </a:extLst>
          </p:cNvPr>
          <p:cNvSpPr txBox="1"/>
          <p:nvPr/>
        </p:nvSpPr>
        <p:spPr bwMode="gray">
          <a:xfrm>
            <a:off x="2151017" y="463296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50A662-21D2-4857-8D95-B9485D15A694}"/>
              </a:ext>
            </a:extLst>
          </p:cNvPr>
          <p:cNvSpPr/>
          <p:nvPr/>
        </p:nvSpPr>
        <p:spPr bwMode="gray">
          <a:xfrm>
            <a:off x="6508520" y="5758961"/>
            <a:ext cx="3550329" cy="721602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10384F"/>
                </a:solidFill>
                <a:latin typeface="Arial" panose="020B0604020202020204" pitchFamily="34" charset="0"/>
              </a:rPr>
              <a:t>Generally, 9-12 months lead tim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10384F"/>
                </a:solidFill>
                <a:latin typeface="Arial" panose="020B0604020202020204" pitchFamily="34" charset="0"/>
              </a:rPr>
              <a:t>Some veg seeds, this is 18-24 months</a:t>
            </a:r>
            <a:r>
              <a:rPr lang="en-US" sz="1400" b="0" i="0" u="none" baseline="0" dirty="0">
                <a:solidFill>
                  <a:srgbClr val="10384F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D4C54B-8F88-4723-97AD-30E1A39A7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13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904C5F44-AFB3-4855-A004-2E25EB7524E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FF8018-C121-4797-BCCD-D29128CA8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What</a:t>
            </a:r>
            <a:r>
              <a:rPr lang="en-US" b="1" dirty="0"/>
              <a:t> is Seed Qual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0EBED6-435C-412B-9FF5-9E6623C8141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81820" y="1587261"/>
            <a:ext cx="10798461" cy="4897490"/>
          </a:xfrm>
        </p:spPr>
        <p:txBody>
          <a:bodyPr>
            <a:normAutofit fontScale="77500" lnSpcReduction="20000"/>
          </a:bodyPr>
          <a:lstStyle/>
          <a:p>
            <a:r>
              <a:rPr lang="en-US" sz="2300" dirty="0"/>
              <a:t>Seed quality generally refers to the seed lot or batch’s: </a:t>
            </a:r>
            <a:endParaRPr lang="en-US" sz="2000" dirty="0"/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Seed Genetic Purity </a:t>
            </a:r>
          </a:p>
          <a:p>
            <a:pPr lvl="3"/>
            <a:r>
              <a:rPr lang="en-US" dirty="0"/>
              <a:t>Hybridity: Purity grow outs, markers or SNPs </a:t>
            </a:r>
          </a:p>
          <a:p>
            <a:pPr lvl="3"/>
            <a:r>
              <a:rPr lang="en-US" dirty="0"/>
              <a:t>May be </a:t>
            </a:r>
            <a:r>
              <a:rPr lang="en-US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proprietary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Seed Physical Purity</a:t>
            </a:r>
          </a:p>
          <a:p>
            <a:pPr lvl="3"/>
            <a:r>
              <a:rPr lang="en-US" dirty="0"/>
              <a:t>Visual inspections of the lot to assure free of weeds, insects, soil, inert matter</a:t>
            </a:r>
          </a:p>
          <a:p>
            <a:pPr lvl="3"/>
            <a:r>
              <a:rPr lang="en-US" dirty="0"/>
              <a:t>ISTA, AOSA/SCST</a:t>
            </a:r>
          </a:p>
          <a:p>
            <a:pPr lvl="2"/>
            <a:r>
              <a:rPr lang="en-US" dirty="0">
                <a:solidFill>
                  <a:schemeClr val="accent6"/>
                </a:solidFill>
              </a:rPr>
              <a:t>Seed Physiology</a:t>
            </a:r>
          </a:p>
          <a:p>
            <a:pPr lvl="3"/>
            <a:r>
              <a:rPr lang="en-US" dirty="0"/>
              <a:t>Germination: Rolled towels, soil germ</a:t>
            </a:r>
          </a:p>
          <a:p>
            <a:pPr lvl="4"/>
            <a:r>
              <a:rPr lang="en-US" dirty="0"/>
              <a:t>ISTA, AOSA/SCST rules</a:t>
            </a:r>
          </a:p>
          <a:p>
            <a:pPr lvl="3"/>
            <a:r>
              <a:rPr lang="en-US" dirty="0"/>
              <a:t>Vigor</a:t>
            </a:r>
            <a:r>
              <a:rPr lang="en-US" i="1" dirty="0"/>
              <a:t>—OPTIONAL (usually market driven)</a:t>
            </a:r>
          </a:p>
          <a:p>
            <a:pPr lvl="4"/>
            <a:r>
              <a:rPr lang="en-US" dirty="0"/>
              <a:t>Largely </a:t>
            </a:r>
            <a:r>
              <a:rPr lang="en-US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proprietary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6"/>
                </a:solidFill>
              </a:rPr>
              <a:t>Seed Health</a:t>
            </a:r>
          </a:p>
          <a:p>
            <a:pPr lvl="3"/>
            <a:r>
              <a:rPr lang="en-US" dirty="0"/>
              <a:t>Many different test types: determined by the pathogen of interest</a:t>
            </a:r>
          </a:p>
          <a:p>
            <a:pPr lvl="3"/>
            <a:r>
              <a:rPr lang="en-US" dirty="0"/>
              <a:t>Evaluations may be performed at the field or seed lot level </a:t>
            </a:r>
          </a:p>
          <a:p>
            <a:pPr lvl="3"/>
            <a:r>
              <a:rPr lang="en-US" dirty="0"/>
              <a:t>May be required (Phytosanitary declaration) or business driven </a:t>
            </a:r>
          </a:p>
          <a:p>
            <a:pPr lvl="3"/>
            <a:r>
              <a:rPr lang="en-US" i="1" dirty="0"/>
              <a:t>Generally, industry aligned methods for laboratory tes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D619FF-82F5-2307-1521-88DD5FF3BFCC}"/>
              </a:ext>
            </a:extLst>
          </p:cNvPr>
          <p:cNvSpPr txBox="1"/>
          <p:nvPr/>
        </p:nvSpPr>
        <p:spPr bwMode="gray">
          <a:xfrm>
            <a:off x="8344286" y="4146618"/>
            <a:ext cx="3435995" cy="9144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ISTA: </a:t>
            </a:r>
            <a:r>
              <a:rPr lang="en-US" sz="1200" b="0" i="0" u="none" baseline="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International Seed Testing Association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AOSA: </a:t>
            </a: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Association of Official Seed Analysts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SCST: </a:t>
            </a:r>
            <a:r>
              <a:rPr lang="en-US" sz="1200" b="0" i="0" u="none" baseline="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</a:rPr>
              <a:t>Society of Commercial Seed Technologists</a:t>
            </a:r>
            <a:endParaRPr lang="en-US" sz="1400" b="0" i="0" u="none" baseline="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78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9671802" cy="864000"/>
          </a:xfrm>
        </p:spPr>
        <p:txBody>
          <a:bodyPr>
            <a:noAutofit/>
          </a:bodyPr>
          <a:lstStyle/>
          <a:p>
            <a:r>
              <a:rPr lang="en-US" b="1" i="1" dirty="0"/>
              <a:t>Where</a:t>
            </a:r>
            <a:r>
              <a:rPr lang="en-US" b="1" dirty="0"/>
              <a:t>: Global Footprint to Increase Reliability of Supply</a:t>
            </a:r>
          </a:p>
        </p:txBody>
      </p:sp>
      <p:pic>
        <p:nvPicPr>
          <p:cNvPr id="5" name="Picture 4" descr="World Map no info.gi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650" y="1570838"/>
            <a:ext cx="6574884" cy="374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tar: 5 Points 2"/>
          <p:cNvSpPr/>
          <p:nvPr/>
        </p:nvSpPr>
        <p:spPr>
          <a:xfrm>
            <a:off x="2304880" y="2768076"/>
            <a:ext cx="178858" cy="193763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6" name="Star: 5 Points 5"/>
          <p:cNvSpPr/>
          <p:nvPr/>
        </p:nvSpPr>
        <p:spPr>
          <a:xfrm>
            <a:off x="2387970" y="3785213"/>
            <a:ext cx="178858" cy="193763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7" name="Star: 5 Points 6"/>
          <p:cNvSpPr/>
          <p:nvPr/>
        </p:nvSpPr>
        <p:spPr>
          <a:xfrm>
            <a:off x="1874181" y="3174903"/>
            <a:ext cx="178858" cy="193763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8" name="Star: 5 Points 7"/>
          <p:cNvSpPr/>
          <p:nvPr/>
        </p:nvSpPr>
        <p:spPr>
          <a:xfrm>
            <a:off x="3746950" y="2671196"/>
            <a:ext cx="178858" cy="193763"/>
          </a:xfrm>
          <a:prstGeom prst="star5">
            <a:avLst/>
          </a:prstGeom>
          <a:solidFill>
            <a:srgbClr val="FDF2DA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9" name="Star: 5 Points 8"/>
          <p:cNvSpPr/>
          <p:nvPr/>
        </p:nvSpPr>
        <p:spPr>
          <a:xfrm>
            <a:off x="5618607" y="3443818"/>
            <a:ext cx="178858" cy="193763"/>
          </a:xfrm>
          <a:prstGeom prst="star5">
            <a:avLst/>
          </a:prstGeom>
          <a:solidFill>
            <a:srgbClr val="FDF2DA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0" name="Star: 5 Points 9"/>
          <p:cNvSpPr/>
          <p:nvPr/>
        </p:nvSpPr>
        <p:spPr>
          <a:xfrm>
            <a:off x="6452173" y="4463831"/>
            <a:ext cx="178858" cy="193763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48" name="Star: 5 Points 47"/>
          <p:cNvSpPr/>
          <p:nvPr/>
        </p:nvSpPr>
        <p:spPr>
          <a:xfrm>
            <a:off x="6259113" y="2916313"/>
            <a:ext cx="193061" cy="181398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42" name="Star: 5 Points 41"/>
          <p:cNvSpPr/>
          <p:nvPr/>
        </p:nvSpPr>
        <p:spPr>
          <a:xfrm>
            <a:off x="4344315" y="2935763"/>
            <a:ext cx="193061" cy="181398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45" name="Star: 5 Points 44"/>
          <p:cNvSpPr/>
          <p:nvPr/>
        </p:nvSpPr>
        <p:spPr>
          <a:xfrm>
            <a:off x="3779153" y="2793694"/>
            <a:ext cx="193061" cy="181398"/>
          </a:xfrm>
          <a:prstGeom prst="star5">
            <a:avLst/>
          </a:prstGeom>
          <a:solidFill>
            <a:srgbClr val="FFFF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46" name="Star: 5 Points 45"/>
          <p:cNvSpPr/>
          <p:nvPr/>
        </p:nvSpPr>
        <p:spPr>
          <a:xfrm>
            <a:off x="3745656" y="2671195"/>
            <a:ext cx="178858" cy="1937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51" name="Star: 5 Points 50"/>
          <p:cNvSpPr/>
          <p:nvPr/>
        </p:nvSpPr>
        <p:spPr>
          <a:xfrm>
            <a:off x="1567743" y="2961839"/>
            <a:ext cx="178858" cy="1937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txBody>
          <a:bodyPr vert="horz" wrap="square" lIns="68562" tIns="34282" rIns="68562" bIns="34282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35" name="Arrow: Curved Up 34"/>
          <p:cNvSpPr/>
          <p:nvPr/>
        </p:nvSpPr>
        <p:spPr>
          <a:xfrm rot="11310596">
            <a:off x="1547999" y="2694765"/>
            <a:ext cx="4259857" cy="533686"/>
          </a:xfrm>
          <a:prstGeom prst="curvedUp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52" name="Arrow: Curved Up 51"/>
          <p:cNvSpPr/>
          <p:nvPr/>
        </p:nvSpPr>
        <p:spPr>
          <a:xfrm rot="12328462">
            <a:off x="3823997" y="2581536"/>
            <a:ext cx="2099121" cy="533686"/>
          </a:xfrm>
          <a:prstGeom prst="curvedUp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" name="Arrow: Curved Down 3"/>
          <p:cNvSpPr/>
          <p:nvPr/>
        </p:nvSpPr>
        <p:spPr>
          <a:xfrm rot="3117044">
            <a:off x="1658746" y="3056771"/>
            <a:ext cx="397377" cy="184828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9" name="Arrow: Curved Down 18"/>
          <p:cNvSpPr/>
          <p:nvPr/>
        </p:nvSpPr>
        <p:spPr>
          <a:xfrm rot="20410187">
            <a:off x="1590076" y="2701459"/>
            <a:ext cx="778792" cy="248752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0" name="Arrow: Curved Down 19"/>
          <p:cNvSpPr/>
          <p:nvPr/>
        </p:nvSpPr>
        <p:spPr>
          <a:xfrm rot="2875368">
            <a:off x="1573150" y="3242472"/>
            <a:ext cx="1242752" cy="270271"/>
          </a:xfrm>
          <a:prstGeom prst="curvedDown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1" name="Arrow: Curved Down 10"/>
          <p:cNvSpPr/>
          <p:nvPr/>
        </p:nvSpPr>
        <p:spPr>
          <a:xfrm rot="477822">
            <a:off x="3821251" y="2527087"/>
            <a:ext cx="2594302" cy="381208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2" name="Arrow: Curved Down 21"/>
          <p:cNvSpPr/>
          <p:nvPr/>
        </p:nvSpPr>
        <p:spPr>
          <a:xfrm rot="4717696">
            <a:off x="3795213" y="2760847"/>
            <a:ext cx="223820" cy="132465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3" name="Arrow: Curved Down 22"/>
          <p:cNvSpPr/>
          <p:nvPr/>
        </p:nvSpPr>
        <p:spPr>
          <a:xfrm rot="1690011">
            <a:off x="3621152" y="3513501"/>
            <a:ext cx="3281328" cy="34281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24" name="Arrow: Curved Down 23"/>
          <p:cNvSpPr/>
          <p:nvPr/>
        </p:nvSpPr>
        <p:spPr>
          <a:xfrm rot="2067175">
            <a:off x="3679015" y="3132332"/>
            <a:ext cx="3327409" cy="597216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12" name="Arrow: Curved Up 11"/>
          <p:cNvSpPr/>
          <p:nvPr/>
        </p:nvSpPr>
        <p:spPr>
          <a:xfrm rot="8778827">
            <a:off x="2023771" y="2940656"/>
            <a:ext cx="1963584" cy="497651"/>
          </a:xfrm>
          <a:prstGeom prst="curvedUpArrow">
            <a:avLst>
              <a:gd name="adj1" fmla="val 25000"/>
              <a:gd name="adj2" fmla="val 50000"/>
              <a:gd name="adj3" fmla="val 27119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>
            <a:endCxn id="10" idx="1"/>
          </p:cNvCxnSpPr>
          <p:nvPr/>
        </p:nvCxnSpPr>
        <p:spPr>
          <a:xfrm>
            <a:off x="3820125" y="2793695"/>
            <a:ext cx="2632048" cy="1744146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cxnSpLocks/>
          </p:cNvCxnSpPr>
          <p:nvPr/>
        </p:nvCxnSpPr>
        <p:spPr>
          <a:xfrm flipH="1">
            <a:off x="2522208" y="3544654"/>
            <a:ext cx="3145639" cy="353194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</p:cNvCxnSpPr>
          <p:nvPr/>
        </p:nvCxnSpPr>
        <p:spPr>
          <a:xfrm flipV="1">
            <a:off x="5689613" y="3119480"/>
            <a:ext cx="628139" cy="442987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 flipV="1">
            <a:off x="2014169" y="3305450"/>
            <a:ext cx="3693867" cy="251500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cxnSpLocks/>
          </p:cNvCxnSpPr>
          <p:nvPr/>
        </p:nvCxnSpPr>
        <p:spPr>
          <a:xfrm flipH="1" flipV="1">
            <a:off x="2436990" y="2877805"/>
            <a:ext cx="3214816" cy="713861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endCxn id="20" idx="4"/>
          </p:cNvCxnSpPr>
          <p:nvPr/>
        </p:nvCxnSpPr>
        <p:spPr>
          <a:xfrm flipH="1">
            <a:off x="2548636" y="2789794"/>
            <a:ext cx="1253276" cy="1080854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endCxn id="11" idx="4"/>
          </p:cNvCxnSpPr>
          <p:nvPr/>
        </p:nvCxnSpPr>
        <p:spPr>
          <a:xfrm>
            <a:off x="3815545" y="2819937"/>
            <a:ext cx="2535753" cy="166463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endCxn id="4" idx="1"/>
          </p:cNvCxnSpPr>
          <p:nvPr/>
        </p:nvCxnSpPr>
        <p:spPr>
          <a:xfrm flipH="1" flipV="1">
            <a:off x="1676439" y="3067874"/>
            <a:ext cx="4027557" cy="492028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cxnSpLocks/>
          </p:cNvCxnSpPr>
          <p:nvPr/>
        </p:nvCxnSpPr>
        <p:spPr>
          <a:xfrm>
            <a:off x="3779154" y="2819933"/>
            <a:ext cx="565161" cy="155160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46649" y="5426727"/>
            <a:ext cx="6574885" cy="1323439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   </a:t>
            </a:r>
            <a:r>
              <a:rPr lang="en-US" sz="2000" dirty="0">
                <a:solidFill>
                  <a:schemeClr val="bg1"/>
                </a:solidFill>
              </a:rPr>
              <a:t>=Production locations</a:t>
            </a:r>
          </a:p>
          <a:p>
            <a:r>
              <a:rPr lang="en-US" sz="2000" dirty="0">
                <a:solidFill>
                  <a:schemeClr val="bg1"/>
                </a:solidFill>
              </a:rPr>
              <a:t>   = Operational processing locations</a:t>
            </a:r>
          </a:p>
          <a:p>
            <a:r>
              <a:rPr lang="en-US" sz="2000" dirty="0">
                <a:solidFill>
                  <a:schemeClr val="bg1"/>
                </a:solidFill>
              </a:rPr>
              <a:t>   = Customer destination locations</a:t>
            </a:r>
          </a:p>
          <a:p>
            <a:r>
              <a:rPr lang="en-US" sz="2000" dirty="0">
                <a:solidFill>
                  <a:schemeClr val="bg1"/>
                </a:solidFill>
              </a:rPr>
              <a:t>White Dashed lines= Trade lanes</a:t>
            </a:r>
          </a:p>
        </p:txBody>
      </p:sp>
      <p:sp>
        <p:nvSpPr>
          <p:cNvPr id="25" name="Star: 5 Points 24"/>
          <p:cNvSpPr/>
          <p:nvPr/>
        </p:nvSpPr>
        <p:spPr>
          <a:xfrm>
            <a:off x="787695" y="5537336"/>
            <a:ext cx="153256" cy="158472"/>
          </a:xfrm>
          <a:prstGeom prst="star5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4" name="Star: 5 Points 43"/>
          <p:cNvSpPr/>
          <p:nvPr/>
        </p:nvSpPr>
        <p:spPr>
          <a:xfrm>
            <a:off x="795244" y="5829118"/>
            <a:ext cx="153256" cy="158472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0" name="Star: 5 Points 49"/>
          <p:cNvSpPr/>
          <p:nvPr/>
        </p:nvSpPr>
        <p:spPr>
          <a:xfrm>
            <a:off x="795244" y="6143751"/>
            <a:ext cx="153256" cy="158472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9" name="Arrow: Curved Down 38"/>
          <p:cNvSpPr/>
          <p:nvPr/>
        </p:nvSpPr>
        <p:spPr>
          <a:xfrm rot="640067">
            <a:off x="3878793" y="2544883"/>
            <a:ext cx="682272" cy="381208"/>
          </a:xfrm>
          <a:prstGeom prst="curvedDown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97A42BF-097F-4307-AEB5-F65D421C42B7}"/>
              </a:ext>
            </a:extLst>
          </p:cNvPr>
          <p:cNvCxnSpPr>
            <a:cxnSpLocks/>
            <a:stCxn id="4" idx="1"/>
            <a:endCxn id="6" idx="4"/>
          </p:cNvCxnSpPr>
          <p:nvPr/>
        </p:nvCxnSpPr>
        <p:spPr>
          <a:xfrm>
            <a:off x="1676437" y="3067875"/>
            <a:ext cx="890390" cy="791349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5C8D5B2-86B0-476E-98F2-852F9D77CB3B}"/>
              </a:ext>
            </a:extLst>
          </p:cNvPr>
          <p:cNvCxnSpPr>
            <a:cxnSpLocks/>
            <a:stCxn id="19" idx="1"/>
            <a:endCxn id="3" idx="1"/>
          </p:cNvCxnSpPr>
          <p:nvPr/>
        </p:nvCxnSpPr>
        <p:spPr>
          <a:xfrm flipV="1">
            <a:off x="1684610" y="2842087"/>
            <a:ext cx="620270" cy="222298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3E3610E0-0BE4-4B84-9BD2-D8B009984DC4}"/>
              </a:ext>
            </a:extLst>
          </p:cNvPr>
          <p:cNvCxnSpPr>
            <a:cxnSpLocks/>
            <a:stCxn id="51" idx="3"/>
            <a:endCxn id="7" idx="2"/>
          </p:cNvCxnSpPr>
          <p:nvPr/>
        </p:nvCxnSpPr>
        <p:spPr>
          <a:xfrm>
            <a:off x="1712440" y="3155601"/>
            <a:ext cx="195898" cy="213064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72AAD5C-B14D-4474-BC9D-119E34B3F602}"/>
              </a:ext>
            </a:extLst>
          </p:cNvPr>
          <p:cNvSpPr/>
          <p:nvPr/>
        </p:nvSpPr>
        <p:spPr>
          <a:xfrm>
            <a:off x="7831432" y="1350571"/>
            <a:ext cx="3404715" cy="4520007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y Global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Labo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Lan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Pest pressure(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Lead ti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y Centralization (of processing)	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Key </a:t>
            </a:r>
            <a:r>
              <a:rPr lang="en-US" dirty="0" err="1"/>
              <a:t>equipments</a:t>
            </a:r>
            <a:r>
              <a:rPr lang="en-US" dirty="0"/>
              <a:t> run year roun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Minimize impacts of unforeseen eve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C000"/>
                </a:solidFill>
              </a:rPr>
              <a:t>Optimization to ensure reliability of supply and quality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9E997AD-49E4-44EE-BA81-D5653AF1C125}"/>
              </a:ext>
            </a:extLst>
          </p:cNvPr>
          <p:cNvCxnSpPr>
            <a:cxnSpLocks/>
            <a:stCxn id="9" idx="2"/>
          </p:cNvCxnSpPr>
          <p:nvPr/>
        </p:nvCxnSpPr>
        <p:spPr>
          <a:xfrm flipH="1" flipV="1">
            <a:off x="4009530" y="2891198"/>
            <a:ext cx="1643234" cy="746383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154415FB-809F-4D01-BEBC-61FF02191A05}"/>
              </a:ext>
            </a:extLst>
          </p:cNvPr>
          <p:cNvCxnSpPr>
            <a:cxnSpLocks/>
          </p:cNvCxnSpPr>
          <p:nvPr/>
        </p:nvCxnSpPr>
        <p:spPr>
          <a:xfrm>
            <a:off x="5680617" y="3610575"/>
            <a:ext cx="789513" cy="906991"/>
          </a:xfrm>
          <a:prstGeom prst="straightConnector1">
            <a:avLst/>
          </a:prstGeom>
          <a:ln w="31750">
            <a:solidFill>
              <a:srgbClr val="FFFFFF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077CCD1-6C3B-4000-A4A2-ADB1494233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Chart Pool /// April 202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8B4C511-8CD4-4119-A890-6C50A9CA5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5B7873E-47A3-1380-D905-E6DC8431EFF5}"/>
              </a:ext>
            </a:extLst>
          </p:cNvPr>
          <p:cNvSpPr txBox="1"/>
          <p:nvPr/>
        </p:nvSpPr>
        <p:spPr bwMode="gray">
          <a:xfrm>
            <a:off x="7831432" y="6090128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Example: Thailand has 1.4M mother plants</a:t>
            </a:r>
            <a:endParaRPr lang="en-US" sz="14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09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  <p:bldP spid="7" grpId="0" animBg="1"/>
      <p:bldP spid="10" grpId="0" animBg="1"/>
      <p:bldP spid="48" grpId="0" animBg="1"/>
      <p:bldP spid="42" grpId="0" animBg="1"/>
      <p:bldP spid="45" grpId="0" animBg="1"/>
      <p:bldP spid="46" grpId="0" animBg="1"/>
      <p:bldP spid="51" grpId="0" animBg="1"/>
      <p:bldP spid="35" grpId="0" animBg="1"/>
      <p:bldP spid="35" grpId="1" animBg="1"/>
      <p:bldP spid="52" grpId="0" animBg="1"/>
      <p:bldP spid="52" grpId="1" animBg="1"/>
      <p:bldP spid="4" grpId="0" animBg="1"/>
      <p:bldP spid="19" grpId="0" animBg="1"/>
      <p:bldP spid="20" grpId="0" animBg="1"/>
      <p:bldP spid="11" grpId="0" animBg="1"/>
      <p:bldP spid="22" grpId="0" animBg="1"/>
      <p:bldP spid="23" grpId="0" animBg="1"/>
      <p:bldP spid="24" grpId="0" animBg="1"/>
      <p:bldP spid="12" grpId="0" animBg="1"/>
      <p:bldP spid="39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BB730CC8-D6C5-47D0-B35B-57F1BB5E692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754165-45BE-4132-A8BA-12AC1822F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/>
              <a:t>How</a:t>
            </a:r>
            <a:r>
              <a:rPr lang="en-US" b="1" dirty="0"/>
              <a:t> is the seed produced?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61CAFA-0BA6-40A1-8460-BF9C594FF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8523F7-62E3-450B-BDDA-FA5F5AD83ED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2400" dirty="0"/>
              <a:t>Examples of efforts made by many companies in the vegetable seed industry to safeguard seed supply and deliver the right quality</a:t>
            </a:r>
          </a:p>
          <a:p>
            <a:pPr lvl="2"/>
            <a:r>
              <a:rPr lang="en-US" dirty="0"/>
              <a:t>Establish reliable production locations</a:t>
            </a:r>
          </a:p>
          <a:p>
            <a:pPr lvl="2"/>
            <a:r>
              <a:rPr lang="en-US" dirty="0"/>
              <a:t>Apply field management practices (Best Management Practices)</a:t>
            </a:r>
          </a:p>
          <a:p>
            <a:pPr lvl="2"/>
            <a:r>
              <a:rPr lang="en-US" dirty="0"/>
              <a:t>Apply standard operational practices (sorting, sanitation, treating, etc.)</a:t>
            </a:r>
          </a:p>
          <a:p>
            <a:pPr lvl="2"/>
            <a:r>
              <a:rPr lang="en-US" dirty="0"/>
              <a:t>Apply standard quality tests developed and implemented</a:t>
            </a:r>
          </a:p>
          <a:p>
            <a:pPr lvl="2"/>
            <a:r>
              <a:rPr lang="en-US" dirty="0"/>
              <a:t>Train to assure consistency in processes</a:t>
            </a:r>
          </a:p>
          <a:p>
            <a:pPr lvl="2"/>
            <a:r>
              <a:rPr lang="en-US" dirty="0"/>
              <a:t>Leverage quality testing for </a:t>
            </a:r>
            <a:r>
              <a:rPr lang="en-US" dirty="0" err="1"/>
              <a:t>phyto</a:t>
            </a:r>
            <a:r>
              <a:rPr lang="en-US" dirty="0"/>
              <a:t>-declarations via NPPO certifications</a:t>
            </a:r>
          </a:p>
          <a:p>
            <a:pPr lvl="2"/>
            <a:r>
              <a:rPr lang="en-US" dirty="0"/>
              <a:t>Root cause identification and corrective actions </a:t>
            </a:r>
          </a:p>
          <a:p>
            <a:pPr lvl="2"/>
            <a:endParaRPr lang="en-US" sz="1600" i="1" dirty="0">
              <a:solidFill>
                <a:schemeClr val="accent3"/>
              </a:solidFill>
            </a:endParaRPr>
          </a:p>
          <a:p>
            <a:r>
              <a:rPr lang="en-US" sz="2400" i="1" dirty="0">
                <a:solidFill>
                  <a:schemeClr val="accent3"/>
                </a:solidFill>
              </a:rPr>
              <a:t>It is desired to have a reliable supply of a predictable seed qualit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616DD66-8F97-4934-AB5D-8A569FCA327E}"/>
              </a:ext>
            </a:extLst>
          </p:cNvPr>
          <p:cNvGrpSpPr/>
          <p:nvPr/>
        </p:nvGrpSpPr>
        <p:grpSpPr>
          <a:xfrm>
            <a:off x="9007203" y="2447306"/>
            <a:ext cx="2675761" cy="2853706"/>
            <a:chOff x="7772400" y="4086393"/>
            <a:chExt cx="2143219" cy="889200"/>
          </a:xfrm>
        </p:grpSpPr>
        <p:sp>
          <p:nvSpPr>
            <p:cNvPr id="8" name="Right Brace 7">
              <a:extLst>
                <a:ext uri="{FF2B5EF4-FFF2-40B4-BE49-F238E27FC236}">
                  <a16:creationId xmlns:a16="http://schemas.microsoft.com/office/drawing/2014/main" id="{87785703-85B4-46BC-A8F2-74024BF8BF5A}"/>
                </a:ext>
              </a:extLst>
            </p:cNvPr>
            <p:cNvSpPr/>
            <p:nvPr/>
          </p:nvSpPr>
          <p:spPr>
            <a:xfrm>
              <a:off x="7772400" y="4086393"/>
              <a:ext cx="490400" cy="889200"/>
            </a:xfrm>
            <a:prstGeom prst="rightBrace">
              <a:avLst/>
            </a:prstGeom>
            <a:ln w="254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B1D336C-F4B3-4549-9EB6-5B6CFC2E1392}"/>
                </a:ext>
              </a:extLst>
            </p:cNvPr>
            <p:cNvSpPr txBox="1"/>
            <p:nvPr/>
          </p:nvSpPr>
          <p:spPr>
            <a:xfrm>
              <a:off x="8262800" y="4250892"/>
              <a:ext cx="1652819" cy="56020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b="1" spc="-28" dirty="0">
                  <a:solidFill>
                    <a:schemeClr val="accent6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se may be a part of a Quality </a:t>
              </a:r>
            </a:p>
            <a:p>
              <a:pPr algn="ctr"/>
              <a:r>
                <a:rPr lang="en-US" b="1" spc="-28" dirty="0">
                  <a:solidFill>
                    <a:schemeClr val="accent6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anagement</a:t>
              </a:r>
            </a:p>
            <a:p>
              <a:pPr algn="ctr"/>
              <a:r>
                <a:rPr lang="en-US" b="1" spc="-28" dirty="0">
                  <a:solidFill>
                    <a:schemeClr val="accent6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ystem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189CF11-1F82-5B0C-AC74-190F7C921829}"/>
              </a:ext>
            </a:extLst>
          </p:cNvPr>
          <p:cNvSpPr txBox="1"/>
          <p:nvPr/>
        </p:nvSpPr>
        <p:spPr bwMode="gray">
          <a:xfrm>
            <a:off x="10865881" y="3158359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34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6D0F152-BE14-4EFC-A404-BA19ACBA47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9636651"/>
              </p:ext>
            </p:extLst>
          </p:nvPr>
        </p:nvGraphicFramePr>
        <p:xfrm>
          <a:off x="685711" y="3276444"/>
          <a:ext cx="11129461" cy="3278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037ABD5E-6504-4E46-B61B-25F3686ABB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016711" y="1124988"/>
            <a:ext cx="10798461" cy="252000"/>
          </a:xfrm>
        </p:spPr>
        <p:txBody>
          <a:bodyPr/>
          <a:lstStyle/>
          <a:p>
            <a:r>
              <a:rPr lang="en-US" dirty="0"/>
              <a:t>Processes, Trainings, Monitoring, Improvements </a:t>
            </a:r>
            <a:r>
              <a:rPr lang="en-US" dirty="0">
                <a:sym typeface="Wingdings" panose="05000000000000000000" pitchFamily="2" charset="2"/>
              </a:rPr>
              <a:t> QMS and Quality Principles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9351FC-CE24-47FF-99F5-13C656E48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ut really, </a:t>
            </a:r>
            <a:r>
              <a:rPr lang="en-US" i="1" dirty="0"/>
              <a:t>how</a:t>
            </a:r>
            <a:r>
              <a:rPr lang="en-US" dirty="0"/>
              <a:t> may seed be produced?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44E5717-52A7-4B90-A52F-58A9238BF0A8}"/>
              </a:ext>
            </a:extLst>
          </p:cNvPr>
          <p:cNvSpPr txBox="1"/>
          <p:nvPr/>
        </p:nvSpPr>
        <p:spPr>
          <a:xfrm>
            <a:off x="9171945" y="5578274"/>
            <a:ext cx="1340169" cy="728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spc="-38" dirty="0">
                <a:solidFill>
                  <a:srgbClr val="66B5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ficial Phytosanitary Testing</a:t>
            </a:r>
          </a:p>
        </p:txBody>
      </p:sp>
      <p:pic>
        <p:nvPicPr>
          <p:cNvPr id="18" name="Picture 17" descr="Slide 8_Assurance_GSPP logo.png">
            <a:extLst>
              <a:ext uri="{FF2B5EF4-FFF2-40B4-BE49-F238E27FC236}">
                <a16:creationId xmlns:a16="http://schemas.microsoft.com/office/drawing/2014/main" id="{7B4B64B1-F4F3-4264-ABCD-5AA0E45AF820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40416" y="2755831"/>
            <a:ext cx="1245902" cy="632736"/>
          </a:xfrm>
          <a:prstGeom prst="rect">
            <a:avLst/>
          </a:prstGeom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61812E9-DD80-43B0-A35E-FEDAE4DC719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11030" y="2755831"/>
            <a:ext cx="1140040" cy="56432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3DE19AC-DBA4-493C-A172-CB9C53C5E5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36506" y="2881663"/>
            <a:ext cx="2274766" cy="453140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616DA19-BF7B-4B19-A70E-55523A59049F}"/>
              </a:ext>
            </a:extLst>
          </p:cNvPr>
          <p:cNvCxnSpPr>
            <a:cxnSpLocks/>
          </p:cNvCxnSpPr>
          <p:nvPr/>
        </p:nvCxnSpPr>
        <p:spPr bwMode="gray">
          <a:xfrm flipV="1">
            <a:off x="9159676" y="5475168"/>
            <a:ext cx="0" cy="687401"/>
          </a:xfrm>
          <a:prstGeom prst="straightConnector1">
            <a:avLst/>
          </a:prstGeom>
          <a:ln w="28575">
            <a:solidFill>
              <a:srgbClr val="66B5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rrow: Right 1">
            <a:extLst>
              <a:ext uri="{FF2B5EF4-FFF2-40B4-BE49-F238E27FC236}">
                <a16:creationId xmlns:a16="http://schemas.microsoft.com/office/drawing/2014/main" id="{EE914710-AC01-4DC3-9EB7-B7D2F3D2D85A}"/>
              </a:ext>
            </a:extLst>
          </p:cNvPr>
          <p:cNvSpPr/>
          <p:nvPr/>
        </p:nvSpPr>
        <p:spPr bwMode="gray">
          <a:xfrm>
            <a:off x="1721097" y="4027398"/>
            <a:ext cx="9442981" cy="386421"/>
          </a:xfrm>
          <a:prstGeom prst="rightArrow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Standard Operating Procedures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D5E5F54E-82A2-46EF-A9DB-98F482094A91}"/>
              </a:ext>
            </a:extLst>
          </p:cNvPr>
          <p:cNvSpPr/>
          <p:nvPr/>
        </p:nvSpPr>
        <p:spPr bwMode="gray">
          <a:xfrm>
            <a:off x="1733088" y="1781662"/>
            <a:ext cx="9566056" cy="780586"/>
          </a:xfrm>
          <a:prstGeom prst="rightArrow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IT Systems = Track and Trace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F1E79707-3D2E-41FB-A96C-BCBBA086D6AD}"/>
              </a:ext>
            </a:extLst>
          </p:cNvPr>
          <p:cNvSpPr/>
          <p:nvPr/>
        </p:nvSpPr>
        <p:spPr bwMode="gray">
          <a:xfrm>
            <a:off x="1721097" y="3247832"/>
            <a:ext cx="9566056" cy="797156"/>
          </a:xfrm>
          <a:prstGeom prst="rightArrow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Da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14525B0-9144-45B7-95CF-CB230BFD04F1}"/>
              </a:ext>
            </a:extLst>
          </p:cNvPr>
          <p:cNvSpPr/>
          <p:nvPr/>
        </p:nvSpPr>
        <p:spPr bwMode="gray">
          <a:xfrm>
            <a:off x="3373447" y="3664370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Field/are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03F932-8833-424E-89E6-68B60F09EE2B}"/>
              </a:ext>
            </a:extLst>
          </p:cNvPr>
          <p:cNvSpPr/>
          <p:nvPr/>
        </p:nvSpPr>
        <p:spPr bwMode="gray">
          <a:xfrm>
            <a:off x="6059242" y="3654537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Practic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7218DF-8F5D-4216-9EDE-C09E2A8A4086}"/>
              </a:ext>
            </a:extLst>
          </p:cNvPr>
          <p:cNvSpPr/>
          <p:nvPr/>
        </p:nvSpPr>
        <p:spPr bwMode="gray">
          <a:xfrm>
            <a:off x="4845671" y="3650550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FFFFFF"/>
                </a:solidFill>
                <a:latin typeface="Arial" panose="020B0604020202020204" pitchFamily="34" charset="0"/>
              </a:rPr>
              <a:t>Grower</a:t>
            </a: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51CCDF4-40BA-4321-A525-7A11D8D9A046}"/>
              </a:ext>
            </a:extLst>
          </p:cNvPr>
          <p:cNvSpPr/>
          <p:nvPr/>
        </p:nvSpPr>
        <p:spPr bwMode="gray">
          <a:xfrm>
            <a:off x="7272813" y="3663314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leaning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4822DA6-D5B0-437B-9656-3786102E105D}"/>
              </a:ext>
            </a:extLst>
          </p:cNvPr>
          <p:cNvSpPr/>
          <p:nvPr/>
        </p:nvSpPr>
        <p:spPr bwMode="gray">
          <a:xfrm>
            <a:off x="8407054" y="3666679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Treat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E5931D4-9E4A-49F5-82A8-A1280E2716D2}"/>
              </a:ext>
            </a:extLst>
          </p:cNvPr>
          <p:cNvSpPr/>
          <p:nvPr/>
        </p:nvSpPr>
        <p:spPr bwMode="gray">
          <a:xfrm>
            <a:off x="7808214" y="3477064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Q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AF336E-39FA-4D3C-8331-4C0C4B48A8F2}"/>
              </a:ext>
            </a:extLst>
          </p:cNvPr>
          <p:cNvSpPr txBox="1"/>
          <p:nvPr/>
        </p:nvSpPr>
        <p:spPr bwMode="gray">
          <a:xfrm>
            <a:off x="1748178" y="2881705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ccreditatio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323E84-0EA0-43C1-8568-3FAC025546CB}"/>
              </a:ext>
            </a:extLst>
          </p:cNvPr>
          <p:cNvSpPr/>
          <p:nvPr/>
        </p:nvSpPr>
        <p:spPr bwMode="gray">
          <a:xfrm>
            <a:off x="3373447" y="3477064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 err="1">
                <a:solidFill>
                  <a:srgbClr val="FFFFFF"/>
                </a:solidFill>
                <a:latin typeface="Arial" panose="020B0604020202020204" pitchFamily="34" charset="0"/>
              </a:rPr>
              <a:t>Parentals</a:t>
            </a:r>
            <a:endParaRPr lang="en-US" sz="1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02A18DA-2F1B-420F-B0A9-6F4ECEDDF8D1}"/>
              </a:ext>
            </a:extLst>
          </p:cNvPr>
          <p:cNvSpPr txBox="1"/>
          <p:nvPr/>
        </p:nvSpPr>
        <p:spPr>
          <a:xfrm>
            <a:off x="6515373" y="5585128"/>
            <a:ext cx="1340169" cy="7281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spc="-38" dirty="0">
                <a:solidFill>
                  <a:srgbClr val="66B5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ficial Phytosanitary Inspections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0C6BF72-DA89-4445-B194-F065E276FDA9}"/>
              </a:ext>
            </a:extLst>
          </p:cNvPr>
          <p:cNvCxnSpPr>
            <a:cxnSpLocks/>
          </p:cNvCxnSpPr>
          <p:nvPr/>
        </p:nvCxnSpPr>
        <p:spPr bwMode="gray">
          <a:xfrm flipV="1">
            <a:off x="6515373" y="5475168"/>
            <a:ext cx="0" cy="687401"/>
          </a:xfrm>
          <a:prstGeom prst="straightConnector1">
            <a:avLst/>
          </a:prstGeom>
          <a:ln w="28575">
            <a:solidFill>
              <a:srgbClr val="66B5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F9FD8D1-44D1-4773-B385-9AA51A739375}"/>
              </a:ext>
            </a:extLst>
          </p:cNvPr>
          <p:cNvSpPr/>
          <p:nvPr/>
        </p:nvSpPr>
        <p:spPr bwMode="gray">
          <a:xfrm>
            <a:off x="5435494" y="3467684"/>
            <a:ext cx="1104218" cy="1650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Inspection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D653E1-7A09-45DE-94FE-D341CAC757D6}"/>
              </a:ext>
            </a:extLst>
          </p:cNvPr>
          <p:cNvSpPr txBox="1"/>
          <p:nvPr/>
        </p:nvSpPr>
        <p:spPr bwMode="gray">
          <a:xfrm>
            <a:off x="4936958" y="2885810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ISO</a:t>
            </a:r>
          </a:p>
        </p:txBody>
      </p:sp>
      <p:pic>
        <p:nvPicPr>
          <p:cNvPr id="38" name="Picture 37" descr="Logo&#10;&#10;Description automatically generated">
            <a:extLst>
              <a:ext uri="{FF2B5EF4-FFF2-40B4-BE49-F238E27FC236}">
                <a16:creationId xmlns:a16="http://schemas.microsoft.com/office/drawing/2014/main" id="{73B7ED17-02C4-4EED-8A2F-15EE3056E12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56435" y="2755831"/>
            <a:ext cx="1571600" cy="5735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C26044-7562-DE3F-1B5F-205D6F89BBDC}"/>
              </a:ext>
            </a:extLst>
          </p:cNvPr>
          <p:cNvSpPr txBox="1"/>
          <p:nvPr/>
        </p:nvSpPr>
        <p:spPr bwMode="gray">
          <a:xfrm rot="16200000">
            <a:off x="163857" y="2854350"/>
            <a:ext cx="2329132" cy="554076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Compan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FC6531-A523-7F4E-9B85-0C25FE47A3C2}"/>
              </a:ext>
            </a:extLst>
          </p:cNvPr>
          <p:cNvSpPr txBox="1"/>
          <p:nvPr/>
        </p:nvSpPr>
        <p:spPr bwMode="gray">
          <a:xfrm rot="16200000">
            <a:off x="860003" y="5764052"/>
            <a:ext cx="925632" cy="554076"/>
          </a:xfrm>
          <a:prstGeom prst="rect">
            <a:avLst/>
          </a:prstGeom>
          <a:solidFill>
            <a:srgbClr val="66B512"/>
          </a:solidFill>
        </p:spPr>
        <p:txBody>
          <a:bodyPr vert="horz" wrap="square" lIns="0" tIns="0" rIns="0" bIns="0" rtlCol="0"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Gov’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1DEAC5-9388-9ABB-A2FF-57FA651AD6E9}"/>
              </a:ext>
            </a:extLst>
          </p:cNvPr>
          <p:cNvSpPr txBox="1"/>
          <p:nvPr/>
        </p:nvSpPr>
        <p:spPr bwMode="gray">
          <a:xfrm>
            <a:off x="7185457" y="6463279"/>
            <a:ext cx="914400" cy="914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1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**Examples given of actions, not exhaustive </a:t>
            </a:r>
          </a:p>
        </p:txBody>
      </p:sp>
    </p:spTree>
    <p:extLst>
      <p:ext uri="{BB962C8B-B14F-4D97-AF65-F5344CB8AC3E}">
        <p14:creationId xmlns:p14="http://schemas.microsoft.com/office/powerpoint/2010/main" val="219111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AAC0503B-BD05-4E81-C7C6-D937A29DEE0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F9780C-AE21-C39D-CEBD-BBADBDC8A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an “ideal” Systems Approach solution look like?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899B0D-A097-EC56-D971-2E57BB4BB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57B52-9121-57CF-37CF-0C4CEC696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9C1BAA6-D988-23F3-BCE3-BEFDBE3BABE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Simple and Efficient</a:t>
            </a:r>
            <a:r>
              <a:rPr lang="en-US" b="1" dirty="0"/>
              <a:t>:</a:t>
            </a:r>
            <a:r>
              <a:rPr lang="en-US" dirty="0"/>
              <a:t> 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If it is too onerous for companies or NPPOs, likely there will be a failure to adopt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s to mimic current official accreditations such as the National Seed Health System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s recognition that the goal is equivalency to existing requirements for official certification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Scalable: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s to be able to be used for production of small lots to large production [50+ acres for one seed lot]</a:t>
            </a:r>
          </a:p>
          <a:p>
            <a:pPr marL="825750" lvl="2" indent="-285750">
              <a:buFont typeface="Arial" panose="020B0604020202020204" pitchFamily="34" charset="0"/>
              <a:buChar char="•"/>
            </a:pPr>
            <a:r>
              <a:rPr lang="en-US" dirty="0"/>
              <a:t>R&amp;D up to Commercial seed </a:t>
            </a:r>
            <a:r>
              <a:rPr lang="en-US" dirty="0" err="1"/>
              <a:t>prodcuti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</a:rPr>
              <a:t>Adaptable:</a:t>
            </a:r>
            <a:r>
              <a:rPr lang="en-US" dirty="0">
                <a:solidFill>
                  <a:schemeClr val="tx2"/>
                </a:solidFill>
              </a:rPr>
              <a:t> 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s to work for different seed crops, company sizes, pests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s to work across multiple sites within a company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Should be able to recognize internal and external (contracted, vendor) practices (Modular?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07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1CE3CF19-630B-D2C4-210A-EC622139704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604014-4255-C222-D71F-87ECBAB2D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ing towards a ‘Pilot’ with </a:t>
            </a:r>
            <a:r>
              <a:rPr lang="en-US" dirty="0" err="1"/>
              <a:t>ReFreSH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5E3957-E024-2E68-EE92-62386D0D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BB29B2-0CDD-F5C8-9BB7-9CE645E61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1BACCD-4FC9-A988-FA6D-E5206E0EE27B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2000" b="1" dirty="0">
                <a:solidFill>
                  <a:schemeClr val="tx2"/>
                </a:solidFill>
              </a:rPr>
              <a:t>Learn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ch company has their own “secret family recipe”. Processes, Accreditations, Systems of Record may differ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There are likely differences within companies on these as w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a LOT of information and potential documentation that is leveraged for applications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This has been viewed as too much to review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Need to find the right bal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e is often autonomy given to local teams to make decisions about seed production decisions (e.g., when to use glyphosate, another herbicide or rogue/hoe to remove) 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cisions and activities are captured in our records but not at an SOP level.</a:t>
            </a:r>
            <a:endParaRPr lang="en-US" dirty="0">
              <a:effectLst/>
              <a:latin typeface="Arial" panose="020B06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5557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51678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4D9889E-0BC8-7F0F-EC39-4D69DE70C44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43D1A2-A7B7-1D2D-8D04-4F60DF102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know when we get to a successful adoption of SA?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8FF2D1-E8CB-65F8-6129-44B561DE9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2E759C-6754-7BA8-C437-EA22435EF9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174D49-079F-BE4D-C916-A05666B927C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ulti-lateral adoption rather than bi-lateral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Multiple companies using this 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Variety of crops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Variety of pests for each crop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Variety of production types (protected, open fiel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ignment-by-consignment testing is not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grams evolve based on system “successes” and “detects”</a:t>
            </a:r>
          </a:p>
          <a:p>
            <a:pPr marL="555750" lvl="1" indent="-285750">
              <a:buFont typeface="Arial" panose="020B0604020202020204" pitchFamily="34" charset="0"/>
              <a:buChar char="•"/>
            </a:pPr>
            <a:r>
              <a:rPr lang="en-US" dirty="0"/>
              <a:t>Partnerships in a new way to keep seeds moving, farmers producing food, fiber </a:t>
            </a:r>
            <a:r>
              <a:rPr lang="en-US"/>
              <a:t>and fuel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788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DFBDAA08241146B46D0B1640CC890F" ma:contentTypeVersion="18" ma:contentTypeDescription="Create a new document." ma:contentTypeScope="" ma:versionID="61e50d27a94aff6ed0da6958732925b4">
  <xsd:schema xmlns:xsd="http://www.w3.org/2001/XMLSchema" xmlns:xs="http://www.w3.org/2001/XMLSchema" xmlns:p="http://schemas.microsoft.com/office/2006/metadata/properties" xmlns:ns2="51d07005-8444-42b2-a841-576e386ff06a" xmlns:ns3="826fa057-fb92-41d3-a05d-69389c14cff1" targetNamespace="http://schemas.microsoft.com/office/2006/metadata/properties" ma:root="true" ma:fieldsID="1b297bcc931609e2c0ac29f3ebfb515b" ns2:_="" ns3:_="">
    <xsd:import namespace="51d07005-8444-42b2-a841-576e386ff06a"/>
    <xsd:import namespace="826fa057-fb92-41d3-a05d-69389c14cf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d07005-8444-42b2-a841-576e386ff0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d39854ef-6beb-4fd7-bc9b-c96434c7cf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6fa057-fb92-41d3-a05d-69389c14cff1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f99ac99f-5bc7-4e9e-b205-96276ba9976a}" ma:internalName="TaxCatchAll" ma:showField="CatchAllData" ma:web="826fa057-fb92-41d3-a05d-69389c14cf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1d07005-8444-42b2-a841-576e386ff06a">
      <Terms xmlns="http://schemas.microsoft.com/office/infopath/2007/PartnerControls"/>
    </lcf76f155ced4ddcb4097134ff3c332f>
    <TaxCatchAll xmlns="826fa057-fb92-41d3-a05d-69389c14cf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F41C51-1267-4BA2-94F3-C32770542D22}"/>
</file>

<file path=customXml/itemProps2.xml><?xml version="1.0" encoding="utf-8"?>
<ds:datastoreItem xmlns:ds="http://schemas.openxmlformats.org/officeDocument/2006/customXml" ds:itemID="{00C159BE-6F6B-426F-95E4-E8535F5594B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EAA5056-0233-4C90-9ECE-95C8CEDCD52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9-25</Template>
  <TotalTime>16278</TotalTime>
  <Words>854</Words>
  <Application>Microsoft Office PowerPoint</Application>
  <PresentationFormat>Custom</PresentationFormat>
  <Paragraphs>143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Verdana</vt:lpstr>
      <vt:lpstr>Wingdings</vt:lpstr>
      <vt:lpstr>1_PR_BAG_PPT-master_16-9</vt:lpstr>
      <vt:lpstr>Quality Control Systems and Systems Approaches: an Industry Perspective</vt:lpstr>
      <vt:lpstr>Basic Business Principles</vt:lpstr>
      <vt:lpstr>What is Seed Quality?</vt:lpstr>
      <vt:lpstr>Where: Global Footprint to Increase Reliability of Supply</vt:lpstr>
      <vt:lpstr>How is the seed produced?  </vt:lpstr>
      <vt:lpstr>But really, how may seed be produced? </vt:lpstr>
      <vt:lpstr>What does an “ideal” Systems Approach solution look like? </vt:lpstr>
      <vt:lpstr>Heading towards a ‘Pilot’ with ReFreSH</vt:lpstr>
      <vt:lpstr>How do we know when we get to a successful adoption of SA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creator>THOMAS, SAMANTHA L [AG/1000]</dc:creator>
  <cp:lastModifiedBy>Samantha Thomas</cp:lastModifiedBy>
  <cp:revision>6</cp:revision>
  <cp:lastPrinted>2017-10-23T10:44:12Z</cp:lastPrinted>
  <dcterms:created xsi:type="dcterms:W3CDTF">2019-01-09T13:25:55Z</dcterms:created>
  <dcterms:modified xsi:type="dcterms:W3CDTF">2024-10-18T13:4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A648CE81C82EDE4D99D1DCECA5E52971</vt:lpwstr>
  </property>
  <property fmtid="{D5CDD505-2E9C-101B-9397-08002B2CF9AE}" pid="4" name="MSIP_Label_7f850223-87a8-40c3-9eb2-432606efca2a_Enabled">
    <vt:lpwstr>true</vt:lpwstr>
  </property>
  <property fmtid="{D5CDD505-2E9C-101B-9397-08002B2CF9AE}" pid="5" name="MSIP_Label_7f850223-87a8-40c3-9eb2-432606efca2a_SetDate">
    <vt:lpwstr>2024-10-16T21:18:04Z</vt:lpwstr>
  </property>
  <property fmtid="{D5CDD505-2E9C-101B-9397-08002B2CF9AE}" pid="6" name="MSIP_Label_7f850223-87a8-40c3-9eb2-432606efca2a_Method">
    <vt:lpwstr>Privileged</vt:lpwstr>
  </property>
  <property fmtid="{D5CDD505-2E9C-101B-9397-08002B2CF9AE}" pid="7" name="MSIP_Label_7f850223-87a8-40c3-9eb2-432606efca2a_Name">
    <vt:lpwstr>7f850223-87a8-40c3-9eb2-432606efca2a</vt:lpwstr>
  </property>
  <property fmtid="{D5CDD505-2E9C-101B-9397-08002B2CF9AE}" pid="8" name="MSIP_Label_7f850223-87a8-40c3-9eb2-432606efca2a_SiteId">
    <vt:lpwstr>fcb2b37b-5da0-466b-9b83-0014b67a7c78</vt:lpwstr>
  </property>
  <property fmtid="{D5CDD505-2E9C-101B-9397-08002B2CF9AE}" pid="9" name="MSIP_Label_7f850223-87a8-40c3-9eb2-432606efca2a_ActionId">
    <vt:lpwstr>4717e01f-208d-4634-9ad3-419816f82d43</vt:lpwstr>
  </property>
  <property fmtid="{D5CDD505-2E9C-101B-9397-08002B2CF9AE}" pid="10" name="MSIP_Label_7f850223-87a8-40c3-9eb2-432606efca2a_ContentBits">
    <vt:lpwstr>0</vt:lpwstr>
  </property>
</Properties>
</file>